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689" r:id="rId6"/>
    <p:sldMasterId id="2147483701" r:id="rId7"/>
  </p:sldMasterIdLst>
  <p:notesMasterIdLst>
    <p:notesMasterId r:id="rId25"/>
  </p:notesMasterIdLst>
  <p:sldIdLst>
    <p:sldId id="287" r:id="rId8"/>
    <p:sldId id="2147374122" r:id="rId9"/>
    <p:sldId id="2146849769" r:id="rId10"/>
    <p:sldId id="2147374119" r:id="rId11"/>
    <p:sldId id="2147374114" r:id="rId12"/>
    <p:sldId id="2147374115" r:id="rId13"/>
    <p:sldId id="2135244926" r:id="rId14"/>
    <p:sldId id="2147374120" r:id="rId15"/>
    <p:sldId id="312" r:id="rId16"/>
    <p:sldId id="2147374109" r:id="rId17"/>
    <p:sldId id="2147374123" r:id="rId18"/>
    <p:sldId id="2147374121" r:id="rId19"/>
    <p:sldId id="2135244927" r:id="rId20"/>
    <p:sldId id="256" r:id="rId21"/>
    <p:sldId id="304" r:id="rId22"/>
    <p:sldId id="2147374116" r:id="rId23"/>
    <p:sldId id="2147374117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ADADA5-8843-4258-97F9-3F46B7A19544}" v="495" dt="2022-03-31T08:09:19.8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gbeide, Michael" userId="3f557f86-d7a3-4852-94e9-638660200706" providerId="ADAL" clId="{42ADADA5-8843-4258-97F9-3F46B7A19544}"/>
    <pc:docChg chg="undo custSel addSld delSld modSld sldOrd">
      <pc:chgData name="Ogbeide, Michael" userId="3f557f86-d7a3-4852-94e9-638660200706" providerId="ADAL" clId="{42ADADA5-8843-4258-97F9-3F46B7A19544}" dt="2022-03-31T08:10:22.062" v="4128" actId="1076"/>
      <pc:docMkLst>
        <pc:docMk/>
      </pc:docMkLst>
      <pc:sldChg chg="addSp delSp modSp mod ord">
        <pc:chgData name="Ogbeide, Michael" userId="3f557f86-d7a3-4852-94e9-638660200706" providerId="ADAL" clId="{42ADADA5-8843-4258-97F9-3F46B7A19544}" dt="2022-03-27T21:54:12.266" v="2058"/>
        <pc:sldMkLst>
          <pc:docMk/>
          <pc:sldMk cId="636502764" sldId="256"/>
        </pc:sldMkLst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2" creationId="{A4102F36-1810-480C-AF0F-79CE9CED6EED}"/>
          </ac:spMkLst>
        </pc:spChg>
        <pc:spChg chg="mod">
          <ac:chgData name="Ogbeide, Michael" userId="3f557f86-d7a3-4852-94e9-638660200706" providerId="ADAL" clId="{42ADADA5-8843-4258-97F9-3F46B7A19544}" dt="2022-03-24T19:22:15.485" v="401" actId="404"/>
          <ac:spMkLst>
            <pc:docMk/>
            <pc:sldMk cId="636502764" sldId="256"/>
            <ac:spMk id="3" creationId="{3C464E69-4DFB-4302-880C-E8D71489F641}"/>
          </ac:spMkLst>
        </pc:spChg>
        <pc:spChg chg="mod">
          <ac:chgData name="Ogbeide, Michael" userId="3f557f86-d7a3-4852-94e9-638660200706" providerId="ADAL" clId="{42ADADA5-8843-4258-97F9-3F46B7A19544}" dt="2022-03-24T20:42:47.240" v="1119" actId="1076"/>
          <ac:spMkLst>
            <pc:docMk/>
            <pc:sldMk cId="636502764" sldId="256"/>
            <ac:spMk id="6" creationId="{E169E0DA-B04D-448A-97D2-4F8BC333B821}"/>
          </ac:spMkLst>
        </pc:spChg>
        <pc:spChg chg="mod">
          <ac:chgData name="Ogbeide, Michael" userId="3f557f86-d7a3-4852-94e9-638660200706" providerId="ADAL" clId="{42ADADA5-8843-4258-97F9-3F46B7A19544}" dt="2022-03-24T20:42:35.762" v="1118" actId="1076"/>
          <ac:spMkLst>
            <pc:docMk/>
            <pc:sldMk cId="636502764" sldId="256"/>
            <ac:spMk id="7" creationId="{C34F4FEB-88F5-489D-8963-C6FE9056B49F}"/>
          </ac:spMkLst>
        </pc:spChg>
        <pc:spChg chg="mod">
          <ac:chgData name="Ogbeide, Michael" userId="3f557f86-d7a3-4852-94e9-638660200706" providerId="ADAL" clId="{42ADADA5-8843-4258-97F9-3F46B7A19544}" dt="2022-03-24T20:42:28.468" v="1117" actId="1076"/>
          <ac:spMkLst>
            <pc:docMk/>
            <pc:sldMk cId="636502764" sldId="256"/>
            <ac:spMk id="9" creationId="{D1CFCF47-B3F0-4AF2-AA10-2E3CB2AD8ED3}"/>
          </ac:spMkLst>
        </pc:spChg>
        <pc:spChg chg="mod">
          <ac:chgData name="Ogbeide, Michael" userId="3f557f86-d7a3-4852-94e9-638660200706" providerId="ADAL" clId="{42ADADA5-8843-4258-97F9-3F46B7A19544}" dt="2022-03-24T20:42:52.719" v="1120" actId="1076"/>
          <ac:spMkLst>
            <pc:docMk/>
            <pc:sldMk cId="636502764" sldId="256"/>
            <ac:spMk id="11" creationId="{049D4760-99FC-43F9-9323-61BE56EC2EA2}"/>
          </ac:spMkLst>
        </pc:spChg>
        <pc:spChg chg="mod">
          <ac:chgData name="Ogbeide, Michael" userId="3f557f86-d7a3-4852-94e9-638660200706" providerId="ADAL" clId="{42ADADA5-8843-4258-97F9-3F46B7A19544}" dt="2022-03-24T20:37:44.042" v="1067" actId="1076"/>
          <ac:spMkLst>
            <pc:docMk/>
            <pc:sldMk cId="636502764" sldId="256"/>
            <ac:spMk id="12" creationId="{8E3F7B4B-8640-4734-927B-8EA90591D7FF}"/>
          </ac:spMkLst>
        </pc:spChg>
        <pc:spChg chg="mod">
          <ac:chgData name="Ogbeide, Michael" userId="3f557f86-d7a3-4852-94e9-638660200706" providerId="ADAL" clId="{42ADADA5-8843-4258-97F9-3F46B7A19544}" dt="2022-03-24T19:28:28.218" v="636" actId="207"/>
          <ac:spMkLst>
            <pc:docMk/>
            <pc:sldMk cId="636502764" sldId="256"/>
            <ac:spMk id="14" creationId="{7FECFCDB-00C3-40A6-9E95-10D0EFF0EA09}"/>
          </ac:spMkLst>
        </pc:spChg>
        <pc:spChg chg="mod">
          <ac:chgData name="Ogbeide, Michael" userId="3f557f86-d7a3-4852-94e9-638660200706" providerId="ADAL" clId="{42ADADA5-8843-4258-97F9-3F46B7A19544}" dt="2022-03-24T19:21:05.408" v="392" actId="404"/>
          <ac:spMkLst>
            <pc:docMk/>
            <pc:sldMk cId="636502764" sldId="256"/>
            <ac:spMk id="15" creationId="{1F90E7B4-DC0F-4B2D-A938-9DA805DBF757}"/>
          </ac:spMkLst>
        </pc:spChg>
        <pc:spChg chg="mod">
          <ac:chgData name="Ogbeide, Michael" userId="3f557f86-d7a3-4852-94e9-638660200706" providerId="ADAL" clId="{42ADADA5-8843-4258-97F9-3F46B7A19544}" dt="2022-03-24T19:21:05.408" v="392" actId="404"/>
          <ac:spMkLst>
            <pc:docMk/>
            <pc:sldMk cId="636502764" sldId="256"/>
            <ac:spMk id="16" creationId="{C4C10BF6-236E-4519-9DDA-F034DAFEFB61}"/>
          </ac:spMkLst>
        </pc:spChg>
        <pc:spChg chg="mod">
          <ac:chgData name="Ogbeide, Michael" userId="3f557f86-d7a3-4852-94e9-638660200706" providerId="ADAL" clId="{42ADADA5-8843-4258-97F9-3F46B7A19544}" dt="2022-03-24T19:21:05.408" v="392" actId="404"/>
          <ac:spMkLst>
            <pc:docMk/>
            <pc:sldMk cId="636502764" sldId="256"/>
            <ac:spMk id="17" creationId="{B43509EF-4AE1-4686-9054-B2004A98D493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20" creationId="{CC896B13-958D-4077-8D75-9AA55636E6E2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21" creationId="{07F889C6-E0F8-482C-B81E-A3B629D138F1}"/>
          </ac:spMkLst>
        </pc:spChg>
        <pc:spChg chg="mod">
          <ac:chgData name="Ogbeide, Michael" userId="3f557f86-d7a3-4852-94e9-638660200706" providerId="ADAL" clId="{42ADADA5-8843-4258-97F9-3F46B7A19544}" dt="2022-03-23T10:10:24.267" v="312" actId="207"/>
          <ac:spMkLst>
            <pc:docMk/>
            <pc:sldMk cId="636502764" sldId="256"/>
            <ac:spMk id="28" creationId="{871823E5-06F5-413F-B212-52E32EAA8FDF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29" creationId="{7782B4EB-C36E-4959-8DFF-FBAAC1180338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0" creationId="{8389A2FE-0519-4B0C-B6F0-7D8EA95565DC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1" creationId="{BB50B1C4-BEA0-4844-8BD5-6BE19120CCDA}"/>
          </ac:spMkLst>
        </pc:spChg>
        <pc:spChg chg="mod">
          <ac:chgData name="Ogbeide, Michael" userId="3f557f86-d7a3-4852-94e9-638660200706" providerId="ADAL" clId="{42ADADA5-8843-4258-97F9-3F46B7A19544}" dt="2022-03-24T20:43:40.875" v="1131" actId="1076"/>
          <ac:spMkLst>
            <pc:docMk/>
            <pc:sldMk cId="636502764" sldId="256"/>
            <ac:spMk id="33" creationId="{5347376D-8CC5-4CC4-B189-A7EF6B55E3F2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4" creationId="{DA775C9C-32FB-4F1F-8E87-F806CAB86AAC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7" creationId="{FB975626-39B0-43E4-8D1B-1BACA11F8530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8" creationId="{C9EE6DDB-69DB-4668-937C-76F449E1200D}"/>
          </ac:spMkLst>
        </pc:spChg>
        <pc:spChg chg="mod">
          <ac:chgData name="Ogbeide, Michael" userId="3f557f86-d7a3-4852-94e9-638660200706" providerId="ADAL" clId="{42ADADA5-8843-4258-97F9-3F46B7A19544}" dt="2022-03-24T19:11:43.891" v="389" actId="403"/>
          <ac:spMkLst>
            <pc:docMk/>
            <pc:sldMk cId="636502764" sldId="256"/>
            <ac:spMk id="39" creationId="{081AFD25-F194-492A-8730-1E838AAE99EF}"/>
          </ac:spMkLst>
        </pc:spChg>
        <pc:spChg chg="mod">
          <ac:chgData name="Ogbeide, Michael" userId="3f557f86-d7a3-4852-94e9-638660200706" providerId="ADAL" clId="{42ADADA5-8843-4258-97F9-3F46B7A19544}" dt="2022-03-24T19:22:15.485" v="401" actId="404"/>
          <ac:spMkLst>
            <pc:docMk/>
            <pc:sldMk cId="636502764" sldId="256"/>
            <ac:spMk id="40" creationId="{816EA608-C8E9-42CF-AF7B-72307A3BBCA9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1" creationId="{6A8351FA-622E-4535-91F4-0DCE4487A333}"/>
          </ac:spMkLst>
        </pc:spChg>
        <pc:spChg chg="mod">
          <ac:chgData name="Ogbeide, Michael" userId="3f557f86-d7a3-4852-94e9-638660200706" providerId="ADAL" clId="{42ADADA5-8843-4258-97F9-3F46B7A19544}" dt="2022-03-24T19:07:58.203" v="352" actId="207"/>
          <ac:spMkLst>
            <pc:docMk/>
            <pc:sldMk cId="636502764" sldId="256"/>
            <ac:spMk id="43" creationId="{04AD29DF-BD76-4672-A17B-96E0D3E2777D}"/>
          </ac:spMkLst>
        </pc:spChg>
        <pc:spChg chg="mod">
          <ac:chgData name="Ogbeide, Michael" userId="3f557f86-d7a3-4852-94e9-638660200706" providerId="ADAL" clId="{42ADADA5-8843-4258-97F9-3F46B7A19544}" dt="2022-03-24T19:09:10.884" v="364" actId="207"/>
          <ac:spMkLst>
            <pc:docMk/>
            <pc:sldMk cId="636502764" sldId="256"/>
            <ac:spMk id="44" creationId="{0414A231-A819-4D0A-A683-C2587FF0E6E1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5" creationId="{87B13B3B-78B4-41E9-90DB-03A07B64DC0E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6" creationId="{F5981820-DAFF-4206-86BB-38552C5C3BFE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7" creationId="{BCD99173-2479-40B6-8935-27B5FC1486D9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8" creationId="{649E63B8-F593-4C3F-833E-647B8F64439B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49" creationId="{9B128667-1DE2-4D2D-92B4-AA232A7E5918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0" creationId="{2E4EAF01-2EEE-4840-AB1A-CDC57126A5DA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1" creationId="{AB5E36F1-5F98-46C4-94E4-4F71D0CA9488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2" creationId="{30A86E0E-472F-49D3-ACDC-064235D0E098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3" creationId="{2E8BC90A-51D2-4F6B-B311-9BBB57008979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4" creationId="{647C5490-DBFB-4137-BB40-3D28D2510F6E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5" creationId="{86CCBA97-6284-4640-8EFD-6E491D3FBB41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6" creationId="{F0791B3A-A8C9-4E51-AFFF-D53E5559F5C1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7" creationId="{8C5D933E-7EF6-4AB5-B160-D8593EF33964}"/>
          </ac:spMkLst>
        </pc:spChg>
        <pc:spChg chg="mod">
          <ac:chgData name="Ogbeide, Michael" userId="3f557f86-d7a3-4852-94e9-638660200706" providerId="ADAL" clId="{42ADADA5-8843-4258-97F9-3F46B7A19544}" dt="2022-03-24T19:09:06.590" v="363" actId="207"/>
          <ac:spMkLst>
            <pc:docMk/>
            <pc:sldMk cId="636502764" sldId="256"/>
            <ac:spMk id="58" creationId="{3B20A31C-318C-476C-B660-49C2423AC09F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59" creationId="{FC9F7214-2B7A-4369-9EA9-A5A3D9948D47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0" creationId="{2A38C59C-C0F2-4163-A811-88C8D365CAEB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1" creationId="{F36B7F93-22F5-47CD-B560-885E738844C4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2" creationId="{51ED2141-ED96-4CA5-B639-8D535A169FB5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3" creationId="{0E1FCDDE-CCB0-4889-946F-B48645DA460A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4" creationId="{FFBB0B0F-4127-4715-A1BA-6C0FE3D3EB28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5" creationId="{D1125125-4C1D-48B0-8BF8-9AF8AB463D87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6" creationId="{ABCD6EA6-0AA8-438A-99F2-5AC2173FBBFF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7" creationId="{2B69481A-810B-4E19-92E8-BE555EAD1307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8" creationId="{01C41065-80A1-4FAC-B295-375849898314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69" creationId="{6F3EAA7D-E758-419D-9297-2B9D721BBBC3}"/>
          </ac:spMkLst>
        </pc:spChg>
        <pc:spChg chg="mod">
          <ac:chgData name="Ogbeide, Michael" userId="3f557f86-d7a3-4852-94e9-638660200706" providerId="ADAL" clId="{42ADADA5-8843-4258-97F9-3F46B7A19544}" dt="2022-03-24T19:07:26.448" v="349" actId="1076"/>
          <ac:spMkLst>
            <pc:docMk/>
            <pc:sldMk cId="636502764" sldId="256"/>
            <ac:spMk id="70" creationId="{6F657317-E8E8-48DF-A9CC-2012F3373E40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78" creationId="{FA14AD30-7731-495B-81CF-9CD8EDB275D0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79" creationId="{E0D23C06-9BB6-4155-BC82-CAAA705C1BD9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0" creationId="{B072AE68-7B6C-45A1-9FF6-AB0F1B26B813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1" creationId="{FFFFB879-4AB7-4B1F-A7AE-56AAB8323460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2" creationId="{7B413BEE-D8FD-41D4-AB83-210A6FF06E01}"/>
          </ac:spMkLst>
        </pc:spChg>
        <pc:spChg chg="add del mod">
          <ac:chgData name="Ogbeide, Michael" userId="3f557f86-d7a3-4852-94e9-638660200706" providerId="ADAL" clId="{42ADADA5-8843-4258-97F9-3F46B7A19544}" dt="2022-03-24T20:35:48.660" v="1041"/>
          <ac:spMkLst>
            <pc:docMk/>
            <pc:sldMk cId="636502764" sldId="256"/>
            <ac:spMk id="83" creationId="{0CD6A8A2-6D9A-4D71-883E-C8BFAB184EF1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4" creationId="{78DD3E1A-3B29-4CFB-8712-291E6ED98637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5" creationId="{7DB89EA1-4FCF-4615-80C1-BAF1AEC1D7AF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6" creationId="{EF74F3FE-1B14-4DF5-A684-DB5E074ECB08}"/>
          </ac:spMkLst>
        </pc:spChg>
        <pc:spChg chg="add mod">
          <ac:chgData name="Ogbeide, Michael" userId="3f557f86-d7a3-4852-94e9-638660200706" providerId="ADAL" clId="{42ADADA5-8843-4258-97F9-3F46B7A19544}" dt="2022-03-24T20:41:43.337" v="1107" actId="404"/>
          <ac:spMkLst>
            <pc:docMk/>
            <pc:sldMk cId="636502764" sldId="256"/>
            <ac:spMk id="87" creationId="{924436D4-018F-4908-A903-8ADA7746139D}"/>
          </ac:spMkLst>
        </pc:spChg>
        <pc:spChg chg="add mod">
          <ac:chgData name="Ogbeide, Michael" userId="3f557f86-d7a3-4852-94e9-638660200706" providerId="ADAL" clId="{42ADADA5-8843-4258-97F9-3F46B7A19544}" dt="2022-03-24T20:41:35.475" v="1104" actId="1076"/>
          <ac:spMkLst>
            <pc:docMk/>
            <pc:sldMk cId="636502764" sldId="256"/>
            <ac:spMk id="93" creationId="{D61C1996-311F-4764-BD59-D7B3A582B714}"/>
          </ac:spMkLst>
        </pc:spChg>
        <pc:spChg chg="add mod">
          <ac:chgData name="Ogbeide, Michael" userId="3f557f86-d7a3-4852-94e9-638660200706" providerId="ADAL" clId="{42ADADA5-8843-4258-97F9-3F46B7A19544}" dt="2022-03-24T20:42:22.460" v="1116" actId="1076"/>
          <ac:spMkLst>
            <pc:docMk/>
            <pc:sldMk cId="636502764" sldId="256"/>
            <ac:spMk id="94" creationId="{555718DD-F3CF-43DE-9AF2-C6D05935895A}"/>
          </ac:spMkLst>
        </pc:spChg>
        <pc:spChg chg="add mod">
          <ac:chgData name="Ogbeide, Michael" userId="3f557f86-d7a3-4852-94e9-638660200706" providerId="ADAL" clId="{42ADADA5-8843-4258-97F9-3F46B7A19544}" dt="2022-03-24T20:43:49.207" v="1132" actId="1076"/>
          <ac:spMkLst>
            <pc:docMk/>
            <pc:sldMk cId="636502764" sldId="256"/>
            <ac:spMk id="95" creationId="{3CF8E174-3F89-4A99-941C-F0D941F1DAE2}"/>
          </ac:spMkLst>
        </pc:spChg>
        <pc:grpChg chg="add mod">
          <ac:chgData name="Ogbeide, Michael" userId="3f557f86-d7a3-4852-94e9-638660200706" providerId="ADAL" clId="{42ADADA5-8843-4258-97F9-3F46B7A19544}" dt="2022-03-24T20:38:51.259" v="1091" actId="14100"/>
          <ac:grpSpMkLst>
            <pc:docMk/>
            <pc:sldMk cId="636502764" sldId="256"/>
            <ac:grpSpMk id="25" creationId="{65A6A23E-63EE-4175-B410-C322D9E0AA16}"/>
          </ac:grpSpMkLst>
        </pc:grpChg>
        <pc:grpChg chg="add del mod">
          <ac:chgData name="Ogbeide, Michael" userId="3f557f86-d7a3-4852-94e9-638660200706" providerId="ADAL" clId="{42ADADA5-8843-4258-97F9-3F46B7A19544}" dt="2022-03-24T20:09:09.963" v="740" actId="478"/>
          <ac:grpSpMkLst>
            <pc:docMk/>
            <pc:sldMk cId="636502764" sldId="256"/>
            <ac:grpSpMk id="35" creationId="{2A78BD56-CBC8-4929-AB9A-3D798D21AA46}"/>
          </ac:grpSpMkLst>
        </pc:grpChg>
        <pc:grpChg chg="mod">
          <ac:chgData name="Ogbeide, Michael" userId="3f557f86-d7a3-4852-94e9-638660200706" providerId="ADAL" clId="{42ADADA5-8843-4258-97F9-3F46B7A19544}" dt="2022-03-24T19:07:26.448" v="349" actId="1076"/>
          <ac:grpSpMkLst>
            <pc:docMk/>
            <pc:sldMk cId="636502764" sldId="256"/>
            <ac:grpSpMk id="42" creationId="{6C7C71CC-CAF3-4725-A0A9-91BBF51B20F1}"/>
          </ac:grpSpMkLst>
        </pc:grpChg>
        <pc:picChg chg="add mod">
          <ac:chgData name="Ogbeide, Michael" userId="3f557f86-d7a3-4852-94e9-638660200706" providerId="ADAL" clId="{42ADADA5-8843-4258-97F9-3F46B7A19544}" dt="2022-03-24T20:43:49.207" v="1132" actId="1076"/>
          <ac:picMkLst>
            <pc:docMk/>
            <pc:sldMk cId="636502764" sldId="256"/>
            <ac:picMk id="88" creationId="{4DCC26A2-C228-48D4-9D2D-225B1CB2E144}"/>
          </ac:picMkLst>
        </pc:picChg>
        <pc:picChg chg="add mod">
          <ac:chgData name="Ogbeide, Michael" userId="3f557f86-d7a3-4852-94e9-638660200706" providerId="ADAL" clId="{42ADADA5-8843-4258-97F9-3F46B7A19544}" dt="2022-03-24T20:42:22.460" v="1116" actId="1076"/>
          <ac:picMkLst>
            <pc:docMk/>
            <pc:sldMk cId="636502764" sldId="256"/>
            <ac:picMk id="90" creationId="{FA64B6F5-9E28-403D-B22A-57BBC14CAB86}"/>
          </ac:picMkLst>
        </pc:picChg>
        <pc:picChg chg="add mod">
          <ac:chgData name="Ogbeide, Michael" userId="3f557f86-d7a3-4852-94e9-638660200706" providerId="ADAL" clId="{42ADADA5-8843-4258-97F9-3F46B7A19544}" dt="2022-03-24T20:41:35.475" v="1104" actId="1076"/>
          <ac:picMkLst>
            <pc:docMk/>
            <pc:sldMk cId="636502764" sldId="256"/>
            <ac:picMk id="92" creationId="{9402CEE2-BC17-4760-A928-71AA99651066}"/>
          </ac:picMkLst>
        </pc:picChg>
        <pc:cxnChg chg="add mod">
          <ac:chgData name="Ogbeide, Michael" userId="3f557f86-d7a3-4852-94e9-638660200706" providerId="ADAL" clId="{42ADADA5-8843-4258-97F9-3F46B7A19544}" dt="2022-03-24T19:08:11.636" v="353" actId="208"/>
          <ac:cxnSpMkLst>
            <pc:docMk/>
            <pc:sldMk cId="636502764" sldId="256"/>
            <ac:cxnSpMk id="13" creationId="{B186B17E-469D-43DB-9095-87DAC5A03C4F}"/>
          </ac:cxnSpMkLst>
        </pc:cxnChg>
        <pc:cxnChg chg="mod">
          <ac:chgData name="Ogbeide, Michael" userId="3f557f86-d7a3-4852-94e9-638660200706" providerId="ADAL" clId="{42ADADA5-8843-4258-97F9-3F46B7A19544}" dt="2022-03-24T19:09:42.661" v="379" actId="1036"/>
          <ac:cxnSpMkLst>
            <pc:docMk/>
            <pc:sldMk cId="636502764" sldId="256"/>
            <ac:cxnSpMk id="22" creationId="{116FB6DA-F158-4799-A4FB-935E3CB23FA7}"/>
          </ac:cxnSpMkLst>
        </pc:cxnChg>
        <pc:cxnChg chg="mod">
          <ac:chgData name="Ogbeide, Michael" userId="3f557f86-d7a3-4852-94e9-638660200706" providerId="ADAL" clId="{42ADADA5-8843-4258-97F9-3F46B7A19544}" dt="2022-03-24T19:09:42.661" v="379" actId="1036"/>
          <ac:cxnSpMkLst>
            <pc:docMk/>
            <pc:sldMk cId="636502764" sldId="256"/>
            <ac:cxnSpMk id="23" creationId="{718A91FA-B18B-4435-933C-9EEFCA7DB4B4}"/>
          </ac:cxnSpMkLst>
        </pc:cxnChg>
        <pc:cxnChg chg="mod">
          <ac:chgData name="Ogbeide, Michael" userId="3f557f86-d7a3-4852-94e9-638660200706" providerId="ADAL" clId="{42ADADA5-8843-4258-97F9-3F46B7A19544}" dt="2022-03-24T19:09:42.661" v="379" actId="1036"/>
          <ac:cxnSpMkLst>
            <pc:docMk/>
            <pc:sldMk cId="636502764" sldId="256"/>
            <ac:cxnSpMk id="24" creationId="{DC0CF30B-B12E-419A-B5A8-77303170CAF0}"/>
          </ac:cxnSpMkLst>
        </pc:cxnChg>
        <pc:cxnChg chg="mod">
          <ac:chgData name="Ogbeide, Michael" userId="3f557f86-d7a3-4852-94e9-638660200706" providerId="ADAL" clId="{42ADADA5-8843-4258-97F9-3F46B7A19544}" dt="2022-03-24T19:09:42.661" v="379" actId="1036"/>
          <ac:cxnSpMkLst>
            <pc:docMk/>
            <pc:sldMk cId="636502764" sldId="256"/>
            <ac:cxnSpMk id="27" creationId="{61B47BD6-E824-4199-B6EC-7A41A8ACC787}"/>
          </ac:cxnSpMkLst>
        </pc:cxnChg>
        <pc:cxnChg chg="add mod">
          <ac:chgData name="Ogbeide, Michael" userId="3f557f86-d7a3-4852-94e9-638660200706" providerId="ADAL" clId="{42ADADA5-8843-4258-97F9-3F46B7A19544}" dt="2022-03-24T19:08:11.636" v="353" actId="208"/>
          <ac:cxnSpMkLst>
            <pc:docMk/>
            <pc:sldMk cId="636502764" sldId="256"/>
            <ac:cxnSpMk id="71" creationId="{97CA3E62-1C02-425A-B445-31A4CDE7C537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2" creationId="{42FF7C47-AABB-432C-81C9-DCFC55070090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3" creationId="{F1585EBF-1825-4B23-9B71-CC8E5B6BE4E1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4" creationId="{F605B0B3-7667-4D56-9D1C-3EF38AAEAA6F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5" creationId="{DB55BA64-637C-4F42-B2F0-76B23EB28353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6" creationId="{8E9B6E15-7916-4EBA-859A-3DC81D3C7F36}"/>
          </ac:cxnSpMkLst>
        </pc:cxnChg>
        <pc:cxnChg chg="add mod">
          <ac:chgData name="Ogbeide, Michael" userId="3f557f86-d7a3-4852-94e9-638660200706" providerId="ADAL" clId="{42ADADA5-8843-4258-97F9-3F46B7A19544}" dt="2022-03-24T19:11:11.134" v="386" actId="208"/>
          <ac:cxnSpMkLst>
            <pc:docMk/>
            <pc:sldMk cId="636502764" sldId="256"/>
            <ac:cxnSpMk id="77" creationId="{B976D283-7B46-43EF-BC08-4DFB5290D71F}"/>
          </ac:cxnSpMkLst>
        </pc:cxnChg>
      </pc:sldChg>
      <pc:sldChg chg="modSp mod">
        <pc:chgData name="Ogbeide, Michael" userId="3f557f86-d7a3-4852-94e9-638660200706" providerId="ADAL" clId="{42ADADA5-8843-4258-97F9-3F46B7A19544}" dt="2022-03-24T19:17:34.159" v="391" actId="27636"/>
        <pc:sldMkLst>
          <pc:docMk/>
          <pc:sldMk cId="4086594150" sldId="287"/>
        </pc:sldMkLst>
        <pc:spChg chg="mod">
          <ac:chgData name="Ogbeide, Michael" userId="3f557f86-d7a3-4852-94e9-638660200706" providerId="ADAL" clId="{42ADADA5-8843-4258-97F9-3F46B7A19544}" dt="2022-03-24T19:17:34.159" v="391" actId="27636"/>
          <ac:spMkLst>
            <pc:docMk/>
            <pc:sldMk cId="4086594150" sldId="287"/>
            <ac:spMk id="2" creationId="{00000000-0000-0000-0000-000000000000}"/>
          </ac:spMkLst>
        </pc:spChg>
        <pc:spChg chg="mod">
          <ac:chgData name="Ogbeide, Michael" userId="3f557f86-d7a3-4852-94e9-638660200706" providerId="ADAL" clId="{42ADADA5-8843-4258-97F9-3F46B7A19544}" dt="2022-03-24T19:17:34.114" v="390" actId="2711"/>
          <ac:spMkLst>
            <pc:docMk/>
            <pc:sldMk cId="4086594150" sldId="287"/>
            <ac:spMk id="3" creationId="{00000000-0000-0000-0000-000000000000}"/>
          </ac:spMkLst>
        </pc:spChg>
      </pc:sldChg>
      <pc:sldChg chg="addSp modSp mod ord">
        <pc:chgData name="Ogbeide, Michael" userId="3f557f86-d7a3-4852-94e9-638660200706" providerId="ADAL" clId="{42ADADA5-8843-4258-97F9-3F46B7A19544}" dt="2022-03-31T08:10:22.062" v="4128" actId="1076"/>
        <pc:sldMkLst>
          <pc:docMk/>
          <pc:sldMk cId="3415124826" sldId="304"/>
        </pc:sldMkLst>
        <pc:spChg chg="add mod">
          <ac:chgData name="Ogbeide, Michael" userId="3f557f86-d7a3-4852-94e9-638660200706" providerId="ADAL" clId="{42ADADA5-8843-4258-97F9-3F46B7A19544}" dt="2022-03-31T08:10:22.062" v="4128" actId="1076"/>
          <ac:spMkLst>
            <pc:docMk/>
            <pc:sldMk cId="3415124826" sldId="304"/>
            <ac:spMk id="3" creationId="{BB8A691B-D36F-493F-A3E7-CB1E0852FB15}"/>
          </ac:spMkLst>
        </pc:spChg>
        <pc:spChg chg="mod">
          <ac:chgData name="Ogbeide, Michael" userId="3f557f86-d7a3-4852-94e9-638660200706" providerId="ADAL" clId="{42ADADA5-8843-4258-97F9-3F46B7A19544}" dt="2022-03-25T15:23:30.937" v="1951" actId="207"/>
          <ac:spMkLst>
            <pc:docMk/>
            <pc:sldMk cId="3415124826" sldId="304"/>
            <ac:spMk id="57" creationId="{7DFA8C9E-C9BE-4570-B8AE-EAA43B3E02D8}"/>
          </ac:spMkLst>
        </pc:spChg>
      </pc:sldChg>
      <pc:sldChg chg="addSp delSp modSp del mod">
        <pc:chgData name="Ogbeide, Michael" userId="3f557f86-d7a3-4852-94e9-638660200706" providerId="ADAL" clId="{42ADADA5-8843-4258-97F9-3F46B7A19544}" dt="2022-03-27T21:54:18.246" v="2059" actId="2696"/>
        <pc:sldMkLst>
          <pc:docMk/>
          <pc:sldMk cId="997946240" sldId="312"/>
        </pc:sldMkLst>
        <pc:spChg chg="mod topLvl">
          <ac:chgData name="Ogbeide, Michael" userId="3f557f86-d7a3-4852-94e9-638660200706" providerId="ADAL" clId="{42ADADA5-8843-4258-97F9-3F46B7A19544}" dt="2022-03-25T11:57:14.710" v="1864" actId="6549"/>
          <ac:spMkLst>
            <pc:docMk/>
            <pc:sldMk cId="997946240" sldId="312"/>
            <ac:spMk id="2" creationId="{036D0A76-28C5-4D17-A402-95F560D1BA4D}"/>
          </ac:spMkLst>
        </pc:spChg>
        <pc:spChg chg="add mod">
          <ac:chgData name="Ogbeide, Michael" userId="3f557f86-d7a3-4852-94e9-638660200706" providerId="ADAL" clId="{42ADADA5-8843-4258-97F9-3F46B7A19544}" dt="2022-03-25T11:58:10.553" v="1870" actId="1076"/>
          <ac:spMkLst>
            <pc:docMk/>
            <pc:sldMk cId="997946240" sldId="312"/>
            <ac:spMk id="14" creationId="{2542DFF8-CFB3-43E4-878E-D2DC0B6DFF6C}"/>
          </ac:spMkLst>
        </pc:spChg>
        <pc:spChg chg="mod">
          <ac:chgData name="Ogbeide, Michael" userId="3f557f86-d7a3-4852-94e9-638660200706" providerId="ADAL" clId="{42ADADA5-8843-4258-97F9-3F46B7A19544}" dt="2022-03-25T11:55:18.854" v="1839" actId="122"/>
          <ac:spMkLst>
            <pc:docMk/>
            <pc:sldMk cId="997946240" sldId="312"/>
            <ac:spMk id="29" creationId="{3C767514-85E6-4C28-AA5D-19BE61640AAF}"/>
          </ac:spMkLst>
        </pc:spChg>
        <pc:spChg chg="mod">
          <ac:chgData name="Ogbeide, Michael" userId="3f557f86-d7a3-4852-94e9-638660200706" providerId="ADAL" clId="{42ADADA5-8843-4258-97F9-3F46B7A19544}" dt="2022-03-25T11:54:13.964" v="1819" actId="1076"/>
          <ac:spMkLst>
            <pc:docMk/>
            <pc:sldMk cId="997946240" sldId="312"/>
            <ac:spMk id="30" creationId="{EC2A666B-9338-483C-9A12-30D57378F984}"/>
          </ac:spMkLst>
        </pc:spChg>
        <pc:spChg chg="mod">
          <ac:chgData name="Ogbeide, Michael" userId="3f557f86-d7a3-4852-94e9-638660200706" providerId="ADAL" clId="{42ADADA5-8843-4258-97F9-3F46B7A19544}" dt="2022-03-25T11:54:13.964" v="1819" actId="1076"/>
          <ac:spMkLst>
            <pc:docMk/>
            <pc:sldMk cId="997946240" sldId="312"/>
            <ac:spMk id="31" creationId="{2C4B1FB6-718A-48AB-BAAF-2E6B1ADCA392}"/>
          </ac:spMkLst>
        </pc:spChg>
        <pc:spChg chg="mod">
          <ac:chgData name="Ogbeide, Michael" userId="3f557f86-d7a3-4852-94e9-638660200706" providerId="ADAL" clId="{42ADADA5-8843-4258-97F9-3F46B7A19544}" dt="2022-03-25T11:54:13.964" v="1819" actId="1076"/>
          <ac:spMkLst>
            <pc:docMk/>
            <pc:sldMk cId="997946240" sldId="312"/>
            <ac:spMk id="32" creationId="{1C6BE5FA-DF7A-4788-AA71-5FA66CE94BA8}"/>
          </ac:spMkLst>
        </pc:spChg>
        <pc:spChg chg="mod">
          <ac:chgData name="Ogbeide, Michael" userId="3f557f86-d7a3-4852-94e9-638660200706" providerId="ADAL" clId="{42ADADA5-8843-4258-97F9-3F46B7A19544}" dt="2022-03-25T11:54:13.964" v="1819" actId="1076"/>
          <ac:spMkLst>
            <pc:docMk/>
            <pc:sldMk cId="997946240" sldId="312"/>
            <ac:spMk id="33" creationId="{6A529D5A-AF9F-4372-900F-38B4AA94C790}"/>
          </ac:spMkLst>
        </pc:spChg>
        <pc:spChg chg="mod topLvl">
          <ac:chgData name="Ogbeide, Michael" userId="3f557f86-d7a3-4852-94e9-638660200706" providerId="ADAL" clId="{42ADADA5-8843-4258-97F9-3F46B7A19544}" dt="2022-03-25T11:57:12.693" v="1863" actId="6549"/>
          <ac:spMkLst>
            <pc:docMk/>
            <pc:sldMk cId="997946240" sldId="312"/>
            <ac:spMk id="34" creationId="{32B42FC1-847A-4F7F-98FD-FE5ACD352561}"/>
          </ac:spMkLst>
        </pc:spChg>
        <pc:spChg chg="mod topLvl">
          <ac:chgData name="Ogbeide, Michael" userId="3f557f86-d7a3-4852-94e9-638660200706" providerId="ADAL" clId="{42ADADA5-8843-4258-97F9-3F46B7A19544}" dt="2022-03-25T11:57:10.464" v="1862" actId="6549"/>
          <ac:spMkLst>
            <pc:docMk/>
            <pc:sldMk cId="997946240" sldId="312"/>
            <ac:spMk id="35" creationId="{E8C2BB8B-C7F5-4E41-B82F-CBEE284CE837}"/>
          </ac:spMkLst>
        </pc:spChg>
        <pc:spChg chg="mod topLvl">
          <ac:chgData name="Ogbeide, Michael" userId="3f557f86-d7a3-4852-94e9-638660200706" providerId="ADAL" clId="{42ADADA5-8843-4258-97F9-3F46B7A19544}" dt="2022-03-25T11:57:08.614" v="1861" actId="6549"/>
          <ac:spMkLst>
            <pc:docMk/>
            <pc:sldMk cId="997946240" sldId="312"/>
            <ac:spMk id="36" creationId="{1F7F9BF6-23B0-4B8C-9CBC-D61DBC7822C7}"/>
          </ac:spMkLst>
        </pc:spChg>
        <pc:spChg chg="mod topLvl">
          <ac:chgData name="Ogbeide, Michael" userId="3f557f86-d7a3-4852-94e9-638660200706" providerId="ADAL" clId="{42ADADA5-8843-4258-97F9-3F46B7A19544}" dt="2022-03-25T11:57:04.923" v="1860" actId="20577"/>
          <ac:spMkLst>
            <pc:docMk/>
            <pc:sldMk cId="997946240" sldId="312"/>
            <ac:spMk id="37" creationId="{FFF7DD24-260C-4E8A-B3B1-43E5BFD69B74}"/>
          </ac:spMkLst>
        </pc:spChg>
        <pc:spChg chg="mod">
          <ac:chgData name="Ogbeide, Michael" userId="3f557f86-d7a3-4852-94e9-638660200706" providerId="ADAL" clId="{42ADADA5-8843-4258-97F9-3F46B7A19544}" dt="2022-03-25T12:03:53.726" v="1871" actId="1076"/>
          <ac:spMkLst>
            <pc:docMk/>
            <pc:sldMk cId="997946240" sldId="312"/>
            <ac:spMk id="38" creationId="{1E8AFE2E-4982-4530-9C40-B81113148805}"/>
          </ac:spMkLst>
        </pc:spChg>
        <pc:spChg chg="mod">
          <ac:chgData name="Ogbeide, Michael" userId="3f557f86-d7a3-4852-94e9-638660200706" providerId="ADAL" clId="{42ADADA5-8843-4258-97F9-3F46B7A19544}" dt="2022-03-25T12:03:53.726" v="1871" actId="1076"/>
          <ac:spMkLst>
            <pc:docMk/>
            <pc:sldMk cId="997946240" sldId="312"/>
            <ac:spMk id="39" creationId="{552C4879-D0A9-4098-92D3-7F1CB5D7A887}"/>
          </ac:spMkLst>
        </pc:spChg>
        <pc:spChg chg="mod">
          <ac:chgData name="Ogbeide, Michael" userId="3f557f86-d7a3-4852-94e9-638660200706" providerId="ADAL" clId="{42ADADA5-8843-4258-97F9-3F46B7A19544}" dt="2022-03-25T12:03:53.726" v="1871" actId="1076"/>
          <ac:spMkLst>
            <pc:docMk/>
            <pc:sldMk cId="997946240" sldId="312"/>
            <ac:spMk id="40" creationId="{C04D3083-B27F-4B8F-9453-BE85BE6E747A}"/>
          </ac:spMkLst>
        </pc:spChg>
        <pc:spChg chg="mod">
          <ac:chgData name="Ogbeide, Michael" userId="3f557f86-d7a3-4852-94e9-638660200706" providerId="ADAL" clId="{42ADADA5-8843-4258-97F9-3F46B7A19544}" dt="2022-03-25T11:36:10.982" v="1692" actId="20577"/>
          <ac:spMkLst>
            <pc:docMk/>
            <pc:sldMk cId="997946240" sldId="312"/>
            <ac:spMk id="52" creationId="{91AB672D-C12A-454F-8056-6BCF37DDAC6A}"/>
          </ac:spMkLst>
        </pc:spChg>
        <pc:spChg chg="mod topLvl">
          <ac:chgData name="Ogbeide, Michael" userId="3f557f86-d7a3-4852-94e9-638660200706" providerId="ADAL" clId="{42ADADA5-8843-4258-97F9-3F46B7A19544}" dt="2022-03-25T11:55:58.538" v="1840" actId="404"/>
          <ac:spMkLst>
            <pc:docMk/>
            <pc:sldMk cId="997946240" sldId="312"/>
            <ac:spMk id="54" creationId="{FF16B3D8-A749-432D-9108-DFE27F30FF47}"/>
          </ac:spMkLst>
        </pc:spChg>
        <pc:spChg chg="mod topLvl">
          <ac:chgData name="Ogbeide, Michael" userId="3f557f86-d7a3-4852-94e9-638660200706" providerId="ADAL" clId="{42ADADA5-8843-4258-97F9-3F46B7A19544}" dt="2022-03-25T11:55:58.538" v="1840" actId="404"/>
          <ac:spMkLst>
            <pc:docMk/>
            <pc:sldMk cId="997946240" sldId="312"/>
            <ac:spMk id="56" creationId="{05E941C2-4495-4584-91D2-2CE5BBED08DF}"/>
          </ac:spMkLst>
        </pc:spChg>
        <pc:spChg chg="add mod">
          <ac:chgData name="Ogbeide, Michael" userId="3f557f86-d7a3-4852-94e9-638660200706" providerId="ADAL" clId="{42ADADA5-8843-4258-97F9-3F46B7A19544}" dt="2022-03-25T11:57:23.513" v="1865" actId="1076"/>
          <ac:spMkLst>
            <pc:docMk/>
            <pc:sldMk cId="997946240" sldId="312"/>
            <ac:spMk id="57" creationId="{6A8B23F5-DEEC-443C-8692-041CB5DBA175}"/>
          </ac:spMkLst>
        </pc:spChg>
        <pc:spChg chg="mod topLvl">
          <ac:chgData name="Ogbeide, Michael" userId="3f557f86-d7a3-4852-94e9-638660200706" providerId="ADAL" clId="{42ADADA5-8843-4258-97F9-3F46B7A19544}" dt="2022-03-25T11:56:10.494" v="1841" actId="14100"/>
          <ac:spMkLst>
            <pc:docMk/>
            <pc:sldMk cId="997946240" sldId="312"/>
            <ac:spMk id="58" creationId="{7C76F482-AA9F-49E7-946D-BDBC4D50540D}"/>
          </ac:spMkLst>
        </pc:spChg>
        <pc:spChg chg="mod topLvl">
          <ac:chgData name="Ogbeide, Michael" userId="3f557f86-d7a3-4852-94e9-638660200706" providerId="ADAL" clId="{42ADADA5-8843-4258-97F9-3F46B7A19544}" dt="2022-03-25T11:55:58.538" v="1840" actId="404"/>
          <ac:spMkLst>
            <pc:docMk/>
            <pc:sldMk cId="997946240" sldId="312"/>
            <ac:spMk id="60" creationId="{A24034EE-5ADF-4A9C-8514-02BC1253BE0E}"/>
          </ac:spMkLst>
        </pc:spChg>
        <pc:spChg chg="mod topLvl">
          <ac:chgData name="Ogbeide, Michael" userId="3f557f86-d7a3-4852-94e9-638660200706" providerId="ADAL" clId="{42ADADA5-8843-4258-97F9-3F46B7A19544}" dt="2022-03-25T11:55:58.538" v="1840" actId="404"/>
          <ac:spMkLst>
            <pc:docMk/>
            <pc:sldMk cId="997946240" sldId="312"/>
            <ac:spMk id="61" creationId="{BFFD2CFD-226F-4320-B951-61D4E1626EE5}"/>
          </ac:spMkLst>
        </pc:spChg>
        <pc:spChg chg="mod topLvl">
          <ac:chgData name="Ogbeide, Michael" userId="3f557f86-d7a3-4852-94e9-638660200706" providerId="ADAL" clId="{42ADADA5-8843-4258-97F9-3F46B7A19544}" dt="2022-03-25T11:56:26.915" v="1854" actId="1035"/>
          <ac:spMkLst>
            <pc:docMk/>
            <pc:sldMk cId="997946240" sldId="312"/>
            <ac:spMk id="63" creationId="{AEB8E2F6-DDDE-457B-9BDD-89B1AC838F1D}"/>
          </ac:spMkLst>
        </pc:spChg>
        <pc:spChg chg="mod topLvl">
          <ac:chgData name="Ogbeide, Michael" userId="3f557f86-d7a3-4852-94e9-638660200706" providerId="ADAL" clId="{42ADADA5-8843-4258-97F9-3F46B7A19544}" dt="2022-03-25T11:56:26.915" v="1854" actId="1035"/>
          <ac:spMkLst>
            <pc:docMk/>
            <pc:sldMk cId="997946240" sldId="312"/>
            <ac:spMk id="64" creationId="{6C424CB8-1614-4032-B2B8-21FE4F6F8482}"/>
          </ac:spMkLst>
        </pc:spChg>
        <pc:spChg chg="mod topLvl">
          <ac:chgData name="Ogbeide, Michael" userId="3f557f86-d7a3-4852-94e9-638660200706" providerId="ADAL" clId="{42ADADA5-8843-4258-97F9-3F46B7A19544}" dt="2022-03-25T11:56:26.915" v="1854" actId="1035"/>
          <ac:spMkLst>
            <pc:docMk/>
            <pc:sldMk cId="997946240" sldId="312"/>
            <ac:spMk id="65" creationId="{105A8C07-7E97-432C-8ED2-9B90FC2AA094}"/>
          </ac:spMkLst>
        </pc:spChg>
        <pc:spChg chg="mod topLvl">
          <ac:chgData name="Ogbeide, Michael" userId="3f557f86-d7a3-4852-94e9-638660200706" providerId="ADAL" clId="{42ADADA5-8843-4258-97F9-3F46B7A19544}" dt="2022-03-25T11:56:26.915" v="1854" actId="1035"/>
          <ac:spMkLst>
            <pc:docMk/>
            <pc:sldMk cId="997946240" sldId="312"/>
            <ac:spMk id="66" creationId="{2C624D22-E4A4-4AF9-B3F9-6E637E3527FB}"/>
          </ac:spMkLst>
        </pc:spChg>
        <pc:spChg chg="mod topLvl">
          <ac:chgData name="Ogbeide, Michael" userId="3f557f86-d7a3-4852-94e9-638660200706" providerId="ADAL" clId="{42ADADA5-8843-4258-97F9-3F46B7A19544}" dt="2022-03-25T11:56:26.915" v="1854" actId="1035"/>
          <ac:spMkLst>
            <pc:docMk/>
            <pc:sldMk cId="997946240" sldId="312"/>
            <ac:spMk id="67" creationId="{E5893F10-4A51-41AD-A442-AD22911BC84D}"/>
          </ac:spMkLst>
        </pc:spChg>
        <pc:spChg chg="mod">
          <ac:chgData name="Ogbeide, Michael" userId="3f557f86-d7a3-4852-94e9-638660200706" providerId="ADAL" clId="{42ADADA5-8843-4258-97F9-3F46B7A19544}" dt="2022-03-25T11:51:58.935" v="1700" actId="165"/>
          <ac:spMkLst>
            <pc:docMk/>
            <pc:sldMk cId="997946240" sldId="312"/>
            <ac:spMk id="68" creationId="{22792EA4-1A8A-4314-A6EB-798F609C6A10}"/>
          </ac:spMkLst>
        </pc:spChg>
        <pc:spChg chg="mod">
          <ac:chgData name="Ogbeide, Michael" userId="3f557f86-d7a3-4852-94e9-638660200706" providerId="ADAL" clId="{42ADADA5-8843-4258-97F9-3F46B7A19544}" dt="2022-03-25T11:51:58.935" v="1700" actId="165"/>
          <ac:spMkLst>
            <pc:docMk/>
            <pc:sldMk cId="997946240" sldId="312"/>
            <ac:spMk id="69" creationId="{0FD78DCC-9B9C-40B2-9475-523CA4E7F707}"/>
          </ac:spMkLst>
        </pc:spChg>
        <pc:spChg chg="mod">
          <ac:chgData name="Ogbeide, Michael" userId="3f557f86-d7a3-4852-94e9-638660200706" providerId="ADAL" clId="{42ADADA5-8843-4258-97F9-3F46B7A19544}" dt="2022-03-25T11:51:58.935" v="1700" actId="165"/>
          <ac:spMkLst>
            <pc:docMk/>
            <pc:sldMk cId="997946240" sldId="312"/>
            <ac:spMk id="70" creationId="{FF08CE0A-FAE0-488B-A052-98D76F4A4AA6}"/>
          </ac:spMkLst>
        </pc:spChg>
        <pc:spChg chg="mod">
          <ac:chgData name="Ogbeide, Michael" userId="3f557f86-d7a3-4852-94e9-638660200706" providerId="ADAL" clId="{42ADADA5-8843-4258-97F9-3F46B7A19544}" dt="2022-03-25T11:51:58.935" v="1700" actId="165"/>
          <ac:spMkLst>
            <pc:docMk/>
            <pc:sldMk cId="997946240" sldId="312"/>
            <ac:spMk id="71" creationId="{2F1CC2B2-1ABA-4B1B-BA52-1E4B5E5BBAF9}"/>
          </ac:spMkLst>
        </pc:spChg>
        <pc:spChg chg="mod">
          <ac:chgData name="Ogbeide, Michael" userId="3f557f86-d7a3-4852-94e9-638660200706" providerId="ADAL" clId="{42ADADA5-8843-4258-97F9-3F46B7A19544}" dt="2022-03-25T11:51:58.935" v="1700" actId="165"/>
          <ac:spMkLst>
            <pc:docMk/>
            <pc:sldMk cId="997946240" sldId="312"/>
            <ac:spMk id="72" creationId="{4B08AD9A-1B88-44AE-B08B-9B56A8BC6F7B}"/>
          </ac:spMkLst>
        </pc:spChg>
        <pc:grpChg chg="add del mod">
          <ac:chgData name="Ogbeide, Michael" userId="3f557f86-d7a3-4852-94e9-638660200706" providerId="ADAL" clId="{42ADADA5-8843-4258-97F9-3F46B7A19544}" dt="2022-03-25T11:51:58.935" v="1700" actId="165"/>
          <ac:grpSpMkLst>
            <pc:docMk/>
            <pc:sldMk cId="997946240" sldId="312"/>
            <ac:grpSpMk id="5" creationId="{A47B0116-AA5D-4775-9A63-CDFD622BC4D0}"/>
          </ac:grpSpMkLst>
        </pc:grpChg>
        <pc:grpChg chg="add del mod">
          <ac:chgData name="Ogbeide, Michael" userId="3f557f86-d7a3-4852-94e9-638660200706" providerId="ADAL" clId="{42ADADA5-8843-4258-97F9-3F46B7A19544}" dt="2022-03-25T11:51:58.935" v="1700" actId="165"/>
          <ac:grpSpMkLst>
            <pc:docMk/>
            <pc:sldMk cId="997946240" sldId="312"/>
            <ac:grpSpMk id="6" creationId="{92139200-F7F3-49C6-9458-B3472656F598}"/>
          </ac:grpSpMkLst>
        </pc:grpChg>
        <pc:grpChg chg="add del mod">
          <ac:chgData name="Ogbeide, Michael" userId="3f557f86-d7a3-4852-94e9-638660200706" providerId="ADAL" clId="{42ADADA5-8843-4258-97F9-3F46B7A19544}" dt="2022-03-25T11:51:58.935" v="1700" actId="165"/>
          <ac:grpSpMkLst>
            <pc:docMk/>
            <pc:sldMk cId="997946240" sldId="312"/>
            <ac:grpSpMk id="7" creationId="{C2B583A3-C6B3-4608-BFF1-7D423C18EA8A}"/>
          </ac:grpSpMkLst>
        </pc:grpChg>
        <pc:grpChg chg="add del mod">
          <ac:chgData name="Ogbeide, Michael" userId="3f557f86-d7a3-4852-94e9-638660200706" providerId="ADAL" clId="{42ADADA5-8843-4258-97F9-3F46B7A19544}" dt="2022-03-25T11:51:58.935" v="1700" actId="165"/>
          <ac:grpSpMkLst>
            <pc:docMk/>
            <pc:sldMk cId="997946240" sldId="312"/>
            <ac:grpSpMk id="8" creationId="{CE855C5D-121E-4AE0-8B83-2F3FA15E3426}"/>
          </ac:grpSpMkLst>
        </pc:grpChg>
        <pc:grpChg chg="add del mod">
          <ac:chgData name="Ogbeide, Michael" userId="3f557f86-d7a3-4852-94e9-638660200706" providerId="ADAL" clId="{42ADADA5-8843-4258-97F9-3F46B7A19544}" dt="2022-03-25T11:51:58.935" v="1700" actId="165"/>
          <ac:grpSpMkLst>
            <pc:docMk/>
            <pc:sldMk cId="997946240" sldId="312"/>
            <ac:grpSpMk id="9" creationId="{34BE09A2-A9E1-479D-AA1A-ADEFF8D1F498}"/>
          </ac:grpSpMkLst>
        </pc:grpChg>
        <pc:grpChg chg="mod topLvl">
          <ac:chgData name="Ogbeide, Michael" userId="3f557f86-d7a3-4852-94e9-638660200706" providerId="ADAL" clId="{42ADADA5-8843-4258-97F9-3F46B7A19544}" dt="2022-03-25T11:52:55.765" v="1770" actId="1035"/>
          <ac:grpSpMkLst>
            <pc:docMk/>
            <pc:sldMk cId="997946240" sldId="312"/>
            <ac:grpSpMk id="83" creationId="{5E290B2D-F6FE-43FF-8E65-72CBF0275948}"/>
          </ac:grpSpMkLst>
        </pc:grpChg>
        <pc:grpChg chg="mod topLvl">
          <ac:chgData name="Ogbeide, Michael" userId="3f557f86-d7a3-4852-94e9-638660200706" providerId="ADAL" clId="{42ADADA5-8843-4258-97F9-3F46B7A19544}" dt="2022-03-25T11:52:55.765" v="1770" actId="1035"/>
          <ac:grpSpMkLst>
            <pc:docMk/>
            <pc:sldMk cId="997946240" sldId="312"/>
            <ac:grpSpMk id="84" creationId="{3EB2890A-850C-43BD-8437-21C0BEA3ACB9}"/>
          </ac:grpSpMkLst>
        </pc:grpChg>
        <pc:grpChg chg="mod topLvl">
          <ac:chgData name="Ogbeide, Michael" userId="3f557f86-d7a3-4852-94e9-638660200706" providerId="ADAL" clId="{42ADADA5-8843-4258-97F9-3F46B7A19544}" dt="2022-03-25T11:52:55.765" v="1770" actId="1035"/>
          <ac:grpSpMkLst>
            <pc:docMk/>
            <pc:sldMk cId="997946240" sldId="312"/>
            <ac:grpSpMk id="85" creationId="{9F62CAB8-9503-4E75-A60D-2346EBFC1761}"/>
          </ac:grpSpMkLst>
        </pc:grpChg>
        <pc:grpChg chg="mod topLvl">
          <ac:chgData name="Ogbeide, Michael" userId="3f557f86-d7a3-4852-94e9-638660200706" providerId="ADAL" clId="{42ADADA5-8843-4258-97F9-3F46B7A19544}" dt="2022-03-25T11:52:55.765" v="1770" actId="1035"/>
          <ac:grpSpMkLst>
            <pc:docMk/>
            <pc:sldMk cId="997946240" sldId="312"/>
            <ac:grpSpMk id="86" creationId="{D040F0FE-40A4-46F7-BF21-CAE656922782}"/>
          </ac:grpSpMkLst>
        </pc:grpChg>
        <pc:grpChg chg="mod topLvl">
          <ac:chgData name="Ogbeide, Michael" userId="3f557f86-d7a3-4852-94e9-638660200706" providerId="ADAL" clId="{42ADADA5-8843-4258-97F9-3F46B7A19544}" dt="2022-03-25T11:52:55.765" v="1770" actId="1035"/>
          <ac:grpSpMkLst>
            <pc:docMk/>
            <pc:sldMk cId="997946240" sldId="312"/>
            <ac:grpSpMk id="87" creationId="{252247F3-9A09-459E-9545-8CA6F9C11D85}"/>
          </ac:grpSpMkLst>
        </pc:grpChg>
        <pc:picChg chg="mod">
          <ac:chgData name="Ogbeide, Michael" userId="3f557f86-d7a3-4852-94e9-638660200706" providerId="ADAL" clId="{42ADADA5-8843-4258-97F9-3F46B7A19544}" dt="2022-03-25T11:51:58.935" v="1700" actId="165"/>
          <ac:picMkLst>
            <pc:docMk/>
            <pc:sldMk cId="997946240" sldId="312"/>
            <ac:picMk id="74" creationId="{05BAE8F4-F669-42C8-A84C-EFB7996EBDF9}"/>
          </ac:picMkLst>
        </pc:picChg>
        <pc:picChg chg="mod">
          <ac:chgData name="Ogbeide, Michael" userId="3f557f86-d7a3-4852-94e9-638660200706" providerId="ADAL" clId="{42ADADA5-8843-4258-97F9-3F46B7A19544}" dt="2022-03-25T11:51:58.935" v="1700" actId="165"/>
          <ac:picMkLst>
            <pc:docMk/>
            <pc:sldMk cId="997946240" sldId="312"/>
            <ac:picMk id="76" creationId="{35A8CAA1-B6D2-4A99-AF1F-A1EC9F2D91AA}"/>
          </ac:picMkLst>
        </pc:picChg>
        <pc:picChg chg="mod">
          <ac:chgData name="Ogbeide, Michael" userId="3f557f86-d7a3-4852-94e9-638660200706" providerId="ADAL" clId="{42ADADA5-8843-4258-97F9-3F46B7A19544}" dt="2022-03-25T11:51:58.935" v="1700" actId="165"/>
          <ac:picMkLst>
            <pc:docMk/>
            <pc:sldMk cId="997946240" sldId="312"/>
            <ac:picMk id="78" creationId="{4BB46227-E790-410A-939F-9DB1E3B0DF2F}"/>
          </ac:picMkLst>
        </pc:picChg>
        <pc:picChg chg="mod">
          <ac:chgData name="Ogbeide, Michael" userId="3f557f86-d7a3-4852-94e9-638660200706" providerId="ADAL" clId="{42ADADA5-8843-4258-97F9-3F46B7A19544}" dt="2022-03-25T11:51:58.935" v="1700" actId="165"/>
          <ac:picMkLst>
            <pc:docMk/>
            <pc:sldMk cId="997946240" sldId="312"/>
            <ac:picMk id="80" creationId="{64CDE099-45FE-43E0-AEFA-4A91641CC27F}"/>
          </ac:picMkLst>
        </pc:picChg>
        <pc:picChg chg="mod">
          <ac:chgData name="Ogbeide, Michael" userId="3f557f86-d7a3-4852-94e9-638660200706" providerId="ADAL" clId="{42ADADA5-8843-4258-97F9-3F46B7A19544}" dt="2022-03-25T11:51:58.935" v="1700" actId="165"/>
          <ac:picMkLst>
            <pc:docMk/>
            <pc:sldMk cId="997946240" sldId="312"/>
            <ac:picMk id="82" creationId="{F9CEB2F0-F734-4D3F-BF01-B31847233038}"/>
          </ac:picMkLst>
        </pc:picChg>
        <pc:cxnChg chg="add mod">
          <ac:chgData name="Ogbeide, Michael" userId="3f557f86-d7a3-4852-94e9-638660200706" providerId="ADAL" clId="{42ADADA5-8843-4258-97F9-3F46B7A19544}" dt="2022-03-25T11:56:53.933" v="1859" actId="14100"/>
          <ac:cxnSpMkLst>
            <pc:docMk/>
            <pc:sldMk cId="997946240" sldId="312"/>
            <ac:cxnSpMk id="4" creationId="{31765327-4464-4D56-A367-898012E23131}"/>
          </ac:cxnSpMkLst>
        </pc:cxnChg>
        <pc:cxnChg chg="add mod">
          <ac:chgData name="Ogbeide, Michael" userId="3f557f86-d7a3-4852-94e9-638660200706" providerId="ADAL" clId="{42ADADA5-8843-4258-97F9-3F46B7A19544}" dt="2022-03-25T12:06:55.086" v="1873" actId="14100"/>
          <ac:cxnSpMkLst>
            <pc:docMk/>
            <pc:sldMk cId="997946240" sldId="312"/>
            <ac:cxnSpMk id="11" creationId="{77DAEBEB-48A7-44B4-9776-7212A4EA5C48}"/>
          </ac:cxnSpMkLst>
        </pc:cxnChg>
        <pc:cxnChg chg="add mod">
          <ac:chgData name="Ogbeide, Michael" userId="3f557f86-d7a3-4852-94e9-638660200706" providerId="ADAL" clId="{42ADADA5-8843-4258-97F9-3F46B7A19544}" dt="2022-03-25T12:03:53.726" v="1871" actId="1076"/>
          <ac:cxnSpMkLst>
            <pc:docMk/>
            <pc:sldMk cId="997946240" sldId="312"/>
            <ac:cxnSpMk id="13" creationId="{7688B6C2-5287-465D-AB83-077145C5A200}"/>
          </ac:cxnSpMkLst>
        </pc:cxnChg>
        <pc:cxnChg chg="add mod">
          <ac:chgData name="Ogbeide, Michael" userId="3f557f86-d7a3-4852-94e9-638660200706" providerId="ADAL" clId="{42ADADA5-8843-4258-97F9-3F46B7A19544}" dt="2022-03-25T11:56:53.933" v="1859" actId="14100"/>
          <ac:cxnSpMkLst>
            <pc:docMk/>
            <pc:sldMk cId="997946240" sldId="312"/>
            <ac:cxnSpMk id="43" creationId="{A733D7A8-03E1-48A7-983E-39091359FBC3}"/>
          </ac:cxnSpMkLst>
        </pc:cxnChg>
        <pc:cxnChg chg="add mod">
          <ac:chgData name="Ogbeide, Michael" userId="3f557f86-d7a3-4852-94e9-638660200706" providerId="ADAL" clId="{42ADADA5-8843-4258-97F9-3F46B7A19544}" dt="2022-03-25T11:56:53.933" v="1859" actId="14100"/>
          <ac:cxnSpMkLst>
            <pc:docMk/>
            <pc:sldMk cId="997946240" sldId="312"/>
            <ac:cxnSpMk id="44" creationId="{A7F2C48A-8414-4F35-8AFD-FE3BE8330F78}"/>
          </ac:cxnSpMkLst>
        </pc:cxnChg>
        <pc:cxnChg chg="add mod">
          <ac:chgData name="Ogbeide, Michael" userId="3f557f86-d7a3-4852-94e9-638660200706" providerId="ADAL" clId="{42ADADA5-8843-4258-97F9-3F46B7A19544}" dt="2022-03-25T11:56:53.933" v="1859" actId="14100"/>
          <ac:cxnSpMkLst>
            <pc:docMk/>
            <pc:sldMk cId="997946240" sldId="312"/>
            <ac:cxnSpMk id="45" creationId="{96407148-2155-45D9-9BA3-F4B4BC500452}"/>
          </ac:cxnSpMkLst>
        </pc:cxnChg>
        <pc:cxnChg chg="add mod">
          <ac:chgData name="Ogbeide, Michael" userId="3f557f86-d7a3-4852-94e9-638660200706" providerId="ADAL" clId="{42ADADA5-8843-4258-97F9-3F46B7A19544}" dt="2022-03-25T12:06:55.086" v="1873" actId="14100"/>
          <ac:cxnSpMkLst>
            <pc:docMk/>
            <pc:sldMk cId="997946240" sldId="312"/>
            <ac:cxnSpMk id="53" creationId="{5E59D79D-CAD8-4A64-954F-FA55AE122CAC}"/>
          </ac:cxnSpMkLst>
        </pc:cxnChg>
      </pc:sldChg>
      <pc:sldChg chg="addSp modSp add mod ord">
        <pc:chgData name="Ogbeide, Michael" userId="3f557f86-d7a3-4852-94e9-638660200706" providerId="ADAL" clId="{42ADADA5-8843-4258-97F9-3F46B7A19544}" dt="2022-03-29T11:12:02.400" v="4001" actId="122"/>
        <pc:sldMkLst>
          <pc:docMk/>
          <pc:sldMk cId="3525620069" sldId="312"/>
        </pc:sldMkLst>
        <pc:spChg chg="mod">
          <ac:chgData name="Ogbeide, Michael" userId="3f557f86-d7a3-4852-94e9-638660200706" providerId="ADAL" clId="{42ADADA5-8843-4258-97F9-3F46B7A19544}" dt="2022-03-29T11:12:02.400" v="4001" actId="122"/>
          <ac:spMkLst>
            <pc:docMk/>
            <pc:sldMk cId="3525620069" sldId="312"/>
            <ac:spMk id="32" creationId="{1C6BE5FA-DF7A-4788-AA71-5FA66CE94BA8}"/>
          </ac:spMkLst>
        </pc:spChg>
        <pc:spChg chg="mod">
          <ac:chgData name="Ogbeide, Michael" userId="3f557f86-d7a3-4852-94e9-638660200706" providerId="ADAL" clId="{42ADADA5-8843-4258-97F9-3F46B7A19544}" dt="2022-03-29T09:25:33.819" v="3393" actId="20577"/>
          <ac:spMkLst>
            <pc:docMk/>
            <pc:sldMk cId="3525620069" sldId="312"/>
            <ac:spMk id="40" creationId="{C04D3083-B27F-4B8F-9453-BE85BE6E747A}"/>
          </ac:spMkLst>
        </pc:spChg>
        <pc:spChg chg="add mod">
          <ac:chgData name="Ogbeide, Michael" userId="3f557f86-d7a3-4852-94e9-638660200706" providerId="ADAL" clId="{42ADADA5-8843-4258-97F9-3F46B7A19544}" dt="2022-03-27T23:14:38.266" v="2675"/>
          <ac:spMkLst>
            <pc:docMk/>
            <pc:sldMk cId="3525620069" sldId="312"/>
            <ac:spMk id="50" creationId="{73601455-83BB-4B6C-BBC2-7BA7960626B6}"/>
          </ac:spMkLst>
        </pc:spChg>
        <pc:spChg chg="mod">
          <ac:chgData name="Ogbeide, Michael" userId="3f557f86-d7a3-4852-94e9-638660200706" providerId="ADAL" clId="{42ADADA5-8843-4258-97F9-3F46B7A19544}" dt="2022-03-29T08:59:17.460" v="3330" actId="20577"/>
          <ac:spMkLst>
            <pc:docMk/>
            <pc:sldMk cId="3525620069" sldId="312"/>
            <ac:spMk id="52" creationId="{91AB672D-C12A-454F-8056-6BCF37DDAC6A}"/>
          </ac:spMkLst>
        </pc:spChg>
        <pc:spChg chg="mod">
          <ac:chgData name="Ogbeide, Michael" userId="3f557f86-d7a3-4852-94e9-638660200706" providerId="ADAL" clId="{42ADADA5-8843-4258-97F9-3F46B7A19544}" dt="2022-03-29T08:21:09.102" v="3079" actId="1076"/>
          <ac:spMkLst>
            <pc:docMk/>
            <pc:sldMk cId="3525620069" sldId="312"/>
            <ac:spMk id="57" creationId="{6A8B23F5-DEEC-443C-8692-041CB5DBA175}"/>
          </ac:spMkLst>
        </pc:spChg>
      </pc:sldChg>
      <pc:sldChg chg="addSp delSp modSp del mod">
        <pc:chgData name="Ogbeide, Michael" userId="3f557f86-d7a3-4852-94e9-638660200706" providerId="ADAL" clId="{42ADADA5-8843-4258-97F9-3F46B7A19544}" dt="2022-03-29T10:53:57.877" v="3947" actId="47"/>
        <pc:sldMkLst>
          <pc:docMk/>
          <pc:sldMk cId="3523812199" sldId="526"/>
        </pc:sldMkLst>
        <pc:spChg chg="del">
          <ac:chgData name="Ogbeide, Michael" userId="3f557f86-d7a3-4852-94e9-638660200706" providerId="ADAL" clId="{42ADADA5-8843-4258-97F9-3F46B7A19544}" dt="2022-03-21T10:10:13.750" v="1" actId="478"/>
          <ac:spMkLst>
            <pc:docMk/>
            <pc:sldMk cId="3523812199" sldId="526"/>
            <ac:spMk id="7" creationId="{00000000-0000-0000-0000-000000000000}"/>
          </ac:spMkLst>
        </pc:spChg>
        <pc:spChg chg="del">
          <ac:chgData name="Ogbeide, Michael" userId="3f557f86-d7a3-4852-94e9-638660200706" providerId="ADAL" clId="{42ADADA5-8843-4258-97F9-3F46B7A19544}" dt="2022-03-21T10:18:48.660" v="242" actId="478"/>
          <ac:spMkLst>
            <pc:docMk/>
            <pc:sldMk cId="3523812199" sldId="526"/>
            <ac:spMk id="9" creationId="{E59663BC-5F30-4082-8B10-FB9EDAC13537}"/>
          </ac:spMkLst>
        </pc:spChg>
        <pc:graphicFrameChg chg="mod modGraphic">
          <ac:chgData name="Ogbeide, Michael" userId="3f557f86-d7a3-4852-94e9-638660200706" providerId="ADAL" clId="{42ADADA5-8843-4258-97F9-3F46B7A19544}" dt="2022-03-29T10:22:48.929" v="3645" actId="1035"/>
          <ac:graphicFrameMkLst>
            <pc:docMk/>
            <pc:sldMk cId="3523812199" sldId="526"/>
            <ac:graphicFrameMk id="6" creationId="{00000000-0000-0000-0000-000000000000}"/>
          </ac:graphicFrameMkLst>
        </pc:graphicFrameChg>
        <pc:graphicFrameChg chg="add mod modGraphic">
          <ac:chgData name="Ogbeide, Michael" userId="3f557f86-d7a3-4852-94e9-638660200706" providerId="ADAL" clId="{42ADADA5-8843-4258-97F9-3F46B7A19544}" dt="2022-03-29T10:22:48.929" v="3645" actId="1035"/>
          <ac:graphicFrameMkLst>
            <pc:docMk/>
            <pc:sldMk cId="3523812199" sldId="526"/>
            <ac:graphicFrameMk id="10" creationId="{E26090C7-36BF-4F12-9C07-F1DE15AE67CC}"/>
          </ac:graphicFrameMkLst>
        </pc:graphicFrameChg>
        <pc:cxnChg chg="add mod">
          <ac:chgData name="Ogbeide, Michael" userId="3f557f86-d7a3-4852-94e9-638660200706" providerId="ADAL" clId="{42ADADA5-8843-4258-97F9-3F46B7A19544}" dt="2022-03-29T10:23:00.585" v="3646" actId="1076"/>
          <ac:cxnSpMkLst>
            <pc:docMk/>
            <pc:sldMk cId="3523812199" sldId="526"/>
            <ac:cxnSpMk id="5" creationId="{860D9EF1-7908-457F-9785-8629CA2D6ECF}"/>
          </ac:cxnSpMkLst>
        </pc:cxnChg>
      </pc:sldChg>
      <pc:sldChg chg="addSp delSp modSp mod ord modNotesTx">
        <pc:chgData name="Ogbeide, Michael" userId="3f557f86-d7a3-4852-94e9-638660200706" providerId="ADAL" clId="{42ADADA5-8843-4258-97F9-3F46B7A19544}" dt="2022-03-29T08:50:57.131" v="3211" actId="1036"/>
        <pc:sldMkLst>
          <pc:docMk/>
          <pc:sldMk cId="1170931067" sldId="2135244926"/>
        </pc:sldMkLst>
        <pc:spChg chg="mod">
          <ac:chgData name="Ogbeide, Michael" userId="3f557f86-d7a3-4852-94e9-638660200706" providerId="ADAL" clId="{42ADADA5-8843-4258-97F9-3F46B7A19544}" dt="2022-03-27T23:00:05.303" v="2548" actId="20577"/>
          <ac:spMkLst>
            <pc:docMk/>
            <pc:sldMk cId="1170931067" sldId="2135244926"/>
            <ac:spMk id="2" creationId="{3B9451F3-8606-4F59-AE18-A4DF8A5DA2C4}"/>
          </ac:spMkLst>
        </pc:spChg>
        <pc:graphicFrameChg chg="mod modGraphic">
          <ac:chgData name="Ogbeide, Michael" userId="3f557f86-d7a3-4852-94e9-638660200706" providerId="ADAL" clId="{42ADADA5-8843-4258-97F9-3F46B7A19544}" dt="2022-03-29T08:50:57.131" v="3211" actId="1036"/>
          <ac:graphicFrameMkLst>
            <pc:docMk/>
            <pc:sldMk cId="1170931067" sldId="2135244926"/>
            <ac:graphicFrameMk id="9" creationId="{DA4CEC2D-A6B5-430F-AAEB-855B972A63A2}"/>
          </ac:graphicFrameMkLst>
        </pc:graphicFrame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6" creationId="{DA0F5781-74ED-4098-B789-3C84F8E605B3}"/>
          </ac:cxnSpMkLst>
        </pc:cxn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8" creationId="{5A2ACA4D-DBC6-4DE9-9EAF-827CCDCEB22C}"/>
          </ac:cxnSpMkLst>
        </pc:cxn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10" creationId="{5E0EEFC3-D728-4FA9-ADEC-E23EBA8C4CB3}"/>
          </ac:cxnSpMkLst>
        </pc:cxn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11" creationId="{08580313-54E5-46E1-AF98-21A57C6E308D}"/>
          </ac:cxnSpMkLst>
        </pc:cxn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12" creationId="{63F119A9-2253-4E4C-9368-8E0BFC3866EC}"/>
          </ac:cxnSpMkLst>
        </pc:cxnChg>
        <pc:cxnChg chg="add del 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13" creationId="{DF74D055-C72A-4313-86D9-C2F946751F31}"/>
          </ac:cxnSpMkLst>
        </pc:cxnChg>
        <pc:cxnChg chg="mod">
          <ac:chgData name="Ogbeide, Michael" userId="3f557f86-d7a3-4852-94e9-638660200706" providerId="ADAL" clId="{42ADADA5-8843-4258-97F9-3F46B7A19544}" dt="2022-03-29T08:50:57.131" v="3211" actId="1036"/>
          <ac:cxnSpMkLst>
            <pc:docMk/>
            <pc:sldMk cId="1170931067" sldId="2135244926"/>
            <ac:cxnSpMk id="14" creationId="{0B9FC4A2-2439-4646-A72E-2C7E7EE07CEE}"/>
          </ac:cxnSpMkLst>
        </pc:cxnChg>
      </pc:sldChg>
      <pc:sldChg chg="modSp mod ord">
        <pc:chgData name="Ogbeide, Michael" userId="3f557f86-d7a3-4852-94e9-638660200706" providerId="ADAL" clId="{42ADADA5-8843-4258-97F9-3F46B7A19544}" dt="2022-03-27T23:13:43.056" v="2671"/>
        <pc:sldMkLst>
          <pc:docMk/>
          <pc:sldMk cId="3508632884" sldId="2135244927"/>
        </pc:sldMkLst>
        <pc:spChg chg="mod">
          <ac:chgData name="Ogbeide, Michael" userId="3f557f86-d7a3-4852-94e9-638660200706" providerId="ADAL" clId="{42ADADA5-8843-4258-97F9-3F46B7A19544}" dt="2022-03-25T15:26:06.743" v="2003" actId="20577"/>
          <ac:spMkLst>
            <pc:docMk/>
            <pc:sldMk cId="3508632884" sldId="2135244927"/>
            <ac:spMk id="3" creationId="{ED00E854-78E9-4023-B62E-9BDBF8024051}"/>
          </ac:spMkLst>
        </pc:spChg>
      </pc:sldChg>
      <pc:sldChg chg="modSp mod">
        <pc:chgData name="Ogbeide, Michael" userId="3f557f86-d7a3-4852-94e9-638660200706" providerId="ADAL" clId="{42ADADA5-8843-4258-97F9-3F46B7A19544}" dt="2022-03-29T08:43:02.127" v="3188" actId="403"/>
        <pc:sldMkLst>
          <pc:docMk/>
          <pc:sldMk cId="975996184" sldId="2146849769"/>
        </pc:sldMkLst>
        <pc:spChg chg="mod">
          <ac:chgData name="Ogbeide, Michael" userId="3f557f86-d7a3-4852-94e9-638660200706" providerId="ADAL" clId="{42ADADA5-8843-4258-97F9-3F46B7A19544}" dt="2022-03-29T08:43:02.127" v="3188" actId="403"/>
          <ac:spMkLst>
            <pc:docMk/>
            <pc:sldMk cId="975996184" sldId="2146849769"/>
            <ac:spMk id="3" creationId="{69E744B4-9A31-4B31-B602-8B5C322ECA16}"/>
          </ac:spMkLst>
        </pc:spChg>
      </pc:sldChg>
      <pc:sldChg chg="addSp delSp modSp mod ord modClrScheme chgLayout">
        <pc:chgData name="Ogbeide, Michael" userId="3f557f86-d7a3-4852-94e9-638660200706" providerId="ADAL" clId="{42ADADA5-8843-4258-97F9-3F46B7A19544}" dt="2022-03-29T10:24:35.733" v="3651" actId="21"/>
        <pc:sldMkLst>
          <pc:docMk/>
          <pc:sldMk cId="4102438984" sldId="2147374109"/>
        </pc:sldMkLst>
        <pc:spChg chg="mod ord">
          <ac:chgData name="Ogbeide, Michael" userId="3f557f86-d7a3-4852-94e9-638660200706" providerId="ADAL" clId="{42ADADA5-8843-4258-97F9-3F46B7A19544}" dt="2022-03-29T08:57:03.607" v="3268" actId="700"/>
          <ac:spMkLst>
            <pc:docMk/>
            <pc:sldMk cId="4102438984" sldId="2147374109"/>
            <ac:spMk id="2" creationId="{1527C48F-7BBE-4B16-B949-66F6EBCA65FA}"/>
          </ac:spMkLst>
        </pc:spChg>
        <pc:spChg chg="mod ord">
          <ac:chgData name="Ogbeide, Michael" userId="3f557f86-d7a3-4852-94e9-638660200706" providerId="ADAL" clId="{42ADADA5-8843-4258-97F9-3F46B7A19544}" dt="2022-03-29T09:17:39.118" v="3343" actId="20577"/>
          <ac:spMkLst>
            <pc:docMk/>
            <pc:sldMk cId="4102438984" sldId="2147374109"/>
            <ac:spMk id="3" creationId="{089B960B-00CC-44AD-93BA-C3A213FA4FCC}"/>
          </ac:spMkLst>
        </pc:spChg>
        <pc:spChg chg="del mod ord">
          <ac:chgData name="Ogbeide, Michael" userId="3f557f86-d7a3-4852-94e9-638660200706" providerId="ADAL" clId="{42ADADA5-8843-4258-97F9-3F46B7A19544}" dt="2022-03-29T08:57:11.320" v="3269" actId="478"/>
          <ac:spMkLst>
            <pc:docMk/>
            <pc:sldMk cId="4102438984" sldId="2147374109"/>
            <ac:spMk id="4" creationId="{2F385A40-6D16-45A1-9D45-734D66402BDA}"/>
          </ac:spMkLst>
        </pc:spChg>
        <pc:spChg chg="del mod ord">
          <ac:chgData name="Ogbeide, Michael" userId="3f557f86-d7a3-4852-94e9-638660200706" providerId="ADAL" clId="{42ADADA5-8843-4258-97F9-3F46B7A19544}" dt="2022-03-29T08:57:11.320" v="3269" actId="478"/>
          <ac:spMkLst>
            <pc:docMk/>
            <pc:sldMk cId="4102438984" sldId="2147374109"/>
            <ac:spMk id="5" creationId="{887140DD-855D-482E-91D9-2D811DDA113C}"/>
          </ac:spMkLst>
        </pc:spChg>
        <pc:spChg chg="mod">
          <ac:chgData name="Ogbeide, Michael" userId="3f557f86-d7a3-4852-94e9-638660200706" providerId="ADAL" clId="{42ADADA5-8843-4258-97F9-3F46B7A19544}" dt="2022-03-29T08:56:31.995" v="3266" actId="1036"/>
          <ac:spMkLst>
            <pc:docMk/>
            <pc:sldMk cId="4102438984" sldId="2147374109"/>
            <ac:spMk id="22" creationId="{86888C8E-7198-490E-AD76-5A1EE48590C2}"/>
          </ac:spMkLst>
        </pc:spChg>
        <pc:spChg chg="mod">
          <ac:chgData name="Ogbeide, Michael" userId="3f557f86-d7a3-4852-94e9-638660200706" providerId="ADAL" clId="{42ADADA5-8843-4258-97F9-3F46B7A19544}" dt="2022-03-29T08:54:36.635" v="3226" actId="14100"/>
          <ac:spMkLst>
            <pc:docMk/>
            <pc:sldMk cId="4102438984" sldId="2147374109"/>
            <ac:spMk id="31" creationId="{7DDE9C01-E6FA-430F-9CE2-80FF663EB79C}"/>
          </ac:spMkLst>
        </pc:spChg>
        <pc:spChg chg="mod">
          <ac:chgData name="Ogbeide, Michael" userId="3f557f86-d7a3-4852-94e9-638660200706" providerId="ADAL" clId="{42ADADA5-8843-4258-97F9-3F46B7A19544}" dt="2022-03-29T08:54:48.362" v="3228" actId="1076"/>
          <ac:spMkLst>
            <pc:docMk/>
            <pc:sldMk cId="4102438984" sldId="2147374109"/>
            <ac:spMk id="32" creationId="{48424002-9EDE-42F0-ACD8-7FDC676FABAC}"/>
          </ac:spMkLst>
        </pc:spChg>
        <pc:spChg chg="mod">
          <ac:chgData name="Ogbeide, Michael" userId="3f557f86-d7a3-4852-94e9-638660200706" providerId="ADAL" clId="{42ADADA5-8843-4258-97F9-3F46B7A19544}" dt="2022-03-29T08:56:24.020" v="3252" actId="1036"/>
          <ac:spMkLst>
            <pc:docMk/>
            <pc:sldMk cId="4102438984" sldId="2147374109"/>
            <ac:spMk id="41" creationId="{AAB976AE-D969-4AD9-9B56-82BFAA2A8EF1}"/>
          </ac:spMkLst>
        </pc:spChg>
        <pc:spChg chg="mod">
          <ac:chgData name="Ogbeide, Michael" userId="3f557f86-d7a3-4852-94e9-638660200706" providerId="ADAL" clId="{42ADADA5-8843-4258-97F9-3F46B7A19544}" dt="2022-03-29T08:56:24.020" v="3252" actId="1036"/>
          <ac:spMkLst>
            <pc:docMk/>
            <pc:sldMk cId="4102438984" sldId="2147374109"/>
            <ac:spMk id="42" creationId="{B3AD7B72-5E29-470C-AC69-A126A6AFD0C7}"/>
          </ac:spMkLst>
        </pc:spChg>
        <pc:spChg chg="del">
          <ac:chgData name="Ogbeide, Michael" userId="3f557f86-d7a3-4852-94e9-638660200706" providerId="ADAL" clId="{42ADADA5-8843-4258-97F9-3F46B7A19544}" dt="2022-03-29T08:56:11.886" v="3229" actId="478"/>
          <ac:spMkLst>
            <pc:docMk/>
            <pc:sldMk cId="4102438984" sldId="2147374109"/>
            <ac:spMk id="43" creationId="{75B15B60-A177-4421-8759-807DB1F4C581}"/>
          </ac:spMkLst>
        </pc:spChg>
        <pc:spChg chg="add mod">
          <ac:chgData name="Ogbeide, Michael" userId="3f557f86-d7a3-4852-94e9-638660200706" providerId="ADAL" clId="{42ADADA5-8843-4258-97F9-3F46B7A19544}" dt="2022-03-29T09:27:02.811" v="3398" actId="14100"/>
          <ac:spMkLst>
            <pc:docMk/>
            <pc:sldMk cId="4102438984" sldId="2147374109"/>
            <ac:spMk id="71" creationId="{7E586B79-FC76-49DF-ABEF-27C9777CECDB}"/>
          </ac:spMkLst>
        </pc:spChg>
        <pc:spChg chg="del mod">
          <ac:chgData name="Ogbeide, Michael" userId="3f557f86-d7a3-4852-94e9-638660200706" providerId="ADAL" clId="{42ADADA5-8843-4258-97F9-3F46B7A19544}" dt="2022-03-29T10:24:35.733" v="3651" actId="21"/>
          <ac:spMkLst>
            <pc:docMk/>
            <pc:sldMk cId="4102438984" sldId="2147374109"/>
            <ac:spMk id="77" creationId="{AA74B901-94F8-4217-9CAD-75BB65CABC9F}"/>
          </ac:spMkLst>
        </pc:spChg>
        <pc:spChg chg="del mod">
          <ac:chgData name="Ogbeide, Michael" userId="3f557f86-d7a3-4852-94e9-638660200706" providerId="ADAL" clId="{42ADADA5-8843-4258-97F9-3F46B7A19544}" dt="2022-03-29T10:24:32.460" v="3650" actId="21"/>
          <ac:spMkLst>
            <pc:docMk/>
            <pc:sldMk cId="4102438984" sldId="2147374109"/>
            <ac:spMk id="80" creationId="{013FC5BA-6B43-458F-BBCF-028638A6338B}"/>
          </ac:spMkLst>
        </pc:spChg>
      </pc:sldChg>
      <pc:sldChg chg="addSp delSp modSp del mod">
        <pc:chgData name="Ogbeide, Michael" userId="3f557f86-d7a3-4852-94e9-638660200706" providerId="ADAL" clId="{42ADADA5-8843-4258-97F9-3F46B7A19544}" dt="2022-03-28T16:03:16.628" v="2945" actId="2696"/>
        <pc:sldMkLst>
          <pc:docMk/>
          <pc:sldMk cId="56132427" sldId="2147374110"/>
        </pc:sldMkLst>
        <pc:graphicFrameChg chg="mod modGraphic">
          <ac:chgData name="Ogbeide, Michael" userId="3f557f86-d7a3-4852-94e9-638660200706" providerId="ADAL" clId="{42ADADA5-8843-4258-97F9-3F46B7A19544}" dt="2022-03-28T13:11:04.192" v="2911" actId="14100"/>
          <ac:graphicFrameMkLst>
            <pc:docMk/>
            <pc:sldMk cId="56132427" sldId="2147374110"/>
            <ac:graphicFrameMk id="6" creationId="{76679402-7052-4061-B8CF-2D490326603C}"/>
          </ac:graphicFrameMkLst>
        </pc:graphicFrameChg>
        <pc:graphicFrameChg chg="mod modGraphic">
          <ac:chgData name="Ogbeide, Michael" userId="3f557f86-d7a3-4852-94e9-638660200706" providerId="ADAL" clId="{42ADADA5-8843-4258-97F9-3F46B7A19544}" dt="2022-03-28T13:08:34.396" v="2873" actId="14734"/>
          <ac:graphicFrameMkLst>
            <pc:docMk/>
            <pc:sldMk cId="56132427" sldId="2147374110"/>
            <ac:graphicFrameMk id="7" creationId="{A1516F6C-D19B-4B27-901B-F0F2E9027ADC}"/>
          </ac:graphicFrameMkLst>
        </pc:graphicFrameChg>
        <pc:graphicFrameChg chg="del modGraphic">
          <ac:chgData name="Ogbeide, Michael" userId="3f557f86-d7a3-4852-94e9-638660200706" providerId="ADAL" clId="{42ADADA5-8843-4258-97F9-3F46B7A19544}" dt="2022-03-28T13:40:52.092" v="2912" actId="478"/>
          <ac:graphicFrameMkLst>
            <pc:docMk/>
            <pc:sldMk cId="56132427" sldId="2147374110"/>
            <ac:graphicFrameMk id="9" creationId="{0A0D6AD9-DFE5-4201-89D5-16BC20E52637}"/>
          </ac:graphicFrameMkLst>
        </pc:graphicFrameChg>
        <pc:graphicFrameChg chg="add mod modGraphic">
          <ac:chgData name="Ogbeide, Michael" userId="3f557f86-d7a3-4852-94e9-638660200706" providerId="ADAL" clId="{42ADADA5-8843-4258-97F9-3F46B7A19544}" dt="2022-03-28T13:51:15.565" v="2944" actId="20577"/>
          <ac:graphicFrameMkLst>
            <pc:docMk/>
            <pc:sldMk cId="56132427" sldId="2147374110"/>
            <ac:graphicFrameMk id="10" creationId="{6C1EF5A3-D599-4ACF-A464-906516A2C347}"/>
          </ac:graphicFrameMkLst>
        </pc:graphicFrameChg>
      </pc:sldChg>
      <pc:sldChg chg="addSp modSp mod ord">
        <pc:chgData name="Ogbeide, Michael" userId="3f557f86-d7a3-4852-94e9-638660200706" providerId="ADAL" clId="{42ADADA5-8843-4258-97F9-3F46B7A19544}" dt="2022-03-29T10:35:19.947" v="3798"/>
        <pc:sldMkLst>
          <pc:docMk/>
          <pc:sldMk cId="111059459" sldId="2147374114"/>
        </pc:sldMkLst>
        <pc:spChg chg="mod">
          <ac:chgData name="Ogbeide, Michael" userId="3f557f86-d7a3-4852-94e9-638660200706" providerId="ADAL" clId="{42ADADA5-8843-4258-97F9-3F46B7A19544}" dt="2022-03-25T15:33:11.052" v="2056" actId="20577"/>
          <ac:spMkLst>
            <pc:docMk/>
            <pc:sldMk cId="111059459" sldId="2147374114"/>
            <ac:spMk id="2" creationId="{D3B8FA05-30C9-48B0-A106-6F86751AFA4D}"/>
          </ac:spMkLst>
        </pc:spChg>
        <pc:spChg chg="mod">
          <ac:chgData name="Ogbeide, Michael" userId="3f557f86-d7a3-4852-94e9-638660200706" providerId="ADAL" clId="{42ADADA5-8843-4258-97F9-3F46B7A19544}" dt="2022-03-29T10:30:51.956" v="3724" actId="20577"/>
          <ac:spMkLst>
            <pc:docMk/>
            <pc:sldMk cId="111059459" sldId="2147374114"/>
            <ac:spMk id="3" creationId="{498BE026-30D9-4941-A5C4-FA2577FC58B5}"/>
          </ac:spMkLst>
        </pc:spChg>
        <pc:spChg chg="mod">
          <ac:chgData name="Ogbeide, Michael" userId="3f557f86-d7a3-4852-94e9-638660200706" providerId="ADAL" clId="{42ADADA5-8843-4258-97F9-3F46B7A19544}" dt="2022-03-29T10:30:39.623" v="3716" actId="20577"/>
          <ac:spMkLst>
            <pc:docMk/>
            <pc:sldMk cId="111059459" sldId="2147374114"/>
            <ac:spMk id="5" creationId="{2917F247-E668-4F03-8D3D-0DC6A84F570E}"/>
          </ac:spMkLst>
        </pc:spChg>
        <pc:spChg chg="add mod">
          <ac:chgData name="Ogbeide, Michael" userId="3f557f86-d7a3-4852-94e9-638660200706" providerId="ADAL" clId="{42ADADA5-8843-4258-97F9-3F46B7A19544}" dt="2022-03-29T10:17:10.386" v="3453" actId="20577"/>
          <ac:spMkLst>
            <pc:docMk/>
            <pc:sldMk cId="111059459" sldId="2147374114"/>
            <ac:spMk id="7" creationId="{E93E0011-F28F-47E2-9BBA-0902F4BAB156}"/>
          </ac:spMkLst>
        </pc:spChg>
        <pc:spChg chg="mod">
          <ac:chgData name="Ogbeide, Michael" userId="3f557f86-d7a3-4852-94e9-638660200706" providerId="ADAL" clId="{42ADADA5-8843-4258-97F9-3F46B7A19544}" dt="2022-03-29T10:35:19.947" v="3798"/>
          <ac:spMkLst>
            <pc:docMk/>
            <pc:sldMk cId="111059459" sldId="2147374114"/>
            <ac:spMk id="12" creationId="{607530BE-046F-488C-9625-342C1C470DBA}"/>
          </ac:spMkLst>
        </pc:spChg>
      </pc:sldChg>
      <pc:sldChg chg="modSp mod ord">
        <pc:chgData name="Ogbeide, Michael" userId="3f557f86-d7a3-4852-94e9-638660200706" providerId="ADAL" clId="{42ADADA5-8843-4258-97F9-3F46B7A19544}" dt="2022-03-29T10:29:59.279" v="3704" actId="208"/>
        <pc:sldMkLst>
          <pc:docMk/>
          <pc:sldMk cId="3472703657" sldId="2147374115"/>
        </pc:sldMkLst>
        <pc:spChg chg="mod">
          <ac:chgData name="Ogbeide, Michael" userId="3f557f86-d7a3-4852-94e9-638660200706" providerId="ADAL" clId="{42ADADA5-8843-4258-97F9-3F46B7A19544}" dt="2022-03-24T20:44:18.877" v="1135" actId="14100"/>
          <ac:spMkLst>
            <pc:docMk/>
            <pc:sldMk cId="3472703657" sldId="2147374115"/>
            <ac:spMk id="5" creationId="{9201416A-0149-4DEF-9A83-AE6CBD34E123}"/>
          </ac:spMkLst>
        </pc:spChg>
        <pc:spChg chg="mod">
          <ac:chgData name="Ogbeide, Michael" userId="3f557f86-d7a3-4852-94e9-638660200706" providerId="ADAL" clId="{42ADADA5-8843-4258-97F9-3F46B7A19544}" dt="2022-03-29T10:29:59.279" v="3704" actId="208"/>
          <ac:spMkLst>
            <pc:docMk/>
            <pc:sldMk cId="3472703657" sldId="2147374115"/>
            <ac:spMk id="12" creationId="{75B4F464-8FA1-4BC1-AB84-A72D166CA602}"/>
          </ac:spMkLst>
        </pc:spChg>
      </pc:sldChg>
      <pc:sldChg chg="modSp mod ord">
        <pc:chgData name="Ogbeide, Michael" userId="3f557f86-d7a3-4852-94e9-638660200706" providerId="ADAL" clId="{42ADADA5-8843-4258-97F9-3F46B7A19544}" dt="2022-03-27T21:54:12.266" v="2058"/>
        <pc:sldMkLst>
          <pc:docMk/>
          <pc:sldMk cId="2031257373" sldId="2147374116"/>
        </pc:sldMkLst>
        <pc:spChg chg="mod">
          <ac:chgData name="Ogbeide, Michael" userId="3f557f86-d7a3-4852-94e9-638660200706" providerId="ADAL" clId="{42ADADA5-8843-4258-97F9-3F46B7A19544}" dt="2022-03-25T15:23:43.477" v="1954" actId="207"/>
          <ac:spMkLst>
            <pc:docMk/>
            <pc:sldMk cId="2031257373" sldId="2147374116"/>
            <ac:spMk id="37" creationId="{7F1A69A9-45AC-4AC7-8548-E08F76087259}"/>
          </ac:spMkLst>
        </pc:spChg>
      </pc:sldChg>
      <pc:sldChg chg="modSp mod ord">
        <pc:chgData name="Ogbeide, Michael" userId="3f557f86-d7a3-4852-94e9-638660200706" providerId="ADAL" clId="{42ADADA5-8843-4258-97F9-3F46B7A19544}" dt="2022-03-27T21:54:12.266" v="2058"/>
        <pc:sldMkLst>
          <pc:docMk/>
          <pc:sldMk cId="2547887762" sldId="2147374117"/>
        </pc:sldMkLst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4" creationId="{2FADAF71-BA0A-4BB0-8A7C-B6C8837016C8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5" creationId="{856545FF-F9D8-4922-AD2B-65AEAD0E0E94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6" creationId="{01B5A4A4-9DDF-4941-8A03-A8945CB23DFA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7" creationId="{3BA2F6AC-9979-4160-9405-A669D23341C9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9" creationId="{9F97030B-F88F-488C-9485-24CAA43CFAF0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0" creationId="{73D1FC1E-8636-4799-B92A-E5D9FED320F8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1" creationId="{11D65921-1BBF-4746-BD5B-B69AA8D5F8AB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2" creationId="{4CA0BD15-8C6F-4F54-9EBB-2EA92D633DCC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3" creationId="{AA75A3AE-3898-4D18-818D-F66AC1A031F2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7" creationId="{2B5BC33A-F377-43A6-8DF3-15B72416CEA1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19" creationId="{FA6AE3F3-F0BC-4A16-A3DC-3534E8BDD30B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20" creationId="{5FA00F94-CAD4-421C-B15A-AC216F72FA10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21" creationId="{8ACAFBB2-CC44-4794-9224-9948982E25CE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23" creationId="{4E73C22E-8ACD-469F-B8FE-23DA821CA874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25" creationId="{9CE1F947-14C2-48B9-ABD3-ECF6B09AE52E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27" creationId="{F0E9256B-AE96-454C-9AF5-8126B992098F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30" creationId="{47EAD051-32F7-4E2A-8529-20F9731E187D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33" creationId="{D7596E46-F894-4EE7-BDD4-CE8FC2DFB8EC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36" creationId="{B39F1C9C-875D-4775-BAB7-9F69DB8BBA0B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37" creationId="{609A9AA7-9758-4E40-90ED-83D6BC4F8019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46" creationId="{B520FBDB-347A-43B4-901A-CF00DD1561A1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49" creationId="{901AA5B5-1B69-4793-BB27-C1E1372794FB}"/>
          </ac:spMkLst>
        </pc:spChg>
        <pc:spChg chg="mod">
          <ac:chgData name="Ogbeide, Michael" userId="3f557f86-d7a3-4852-94e9-638660200706" providerId="ADAL" clId="{42ADADA5-8843-4258-97F9-3F46B7A19544}" dt="2022-03-25T15:24:24.212" v="1975" actId="1035"/>
          <ac:spMkLst>
            <pc:docMk/>
            <pc:sldMk cId="2547887762" sldId="2147374117"/>
            <ac:spMk id="56" creationId="{96DB1C11-A823-4B1E-B8BC-C6460EAD0CC2}"/>
          </ac:spMkLst>
        </pc:spChg>
      </pc:sldChg>
      <pc:sldChg chg="addSp delSp modSp new del mod">
        <pc:chgData name="Ogbeide, Michael" userId="3f557f86-d7a3-4852-94e9-638660200706" providerId="ADAL" clId="{42ADADA5-8843-4258-97F9-3F46B7A19544}" dt="2022-03-24T21:14:44.712" v="1163" actId="47"/>
        <pc:sldMkLst>
          <pc:docMk/>
          <pc:sldMk cId="4059863109" sldId="2147374118"/>
        </pc:sldMkLst>
        <pc:spChg chg="mod">
          <ac:chgData name="Ogbeide, Michael" userId="3f557f86-d7a3-4852-94e9-638660200706" providerId="ADAL" clId="{42ADADA5-8843-4258-97F9-3F46B7A19544}" dt="2022-03-24T19:45:09.189" v="652" actId="108"/>
          <ac:spMkLst>
            <pc:docMk/>
            <pc:sldMk cId="4059863109" sldId="2147374118"/>
            <ac:spMk id="2" creationId="{2E672CAD-4F24-4F9F-8E30-3F4C2ECBC938}"/>
          </ac:spMkLst>
        </pc:spChg>
        <pc:spChg chg="del mod">
          <ac:chgData name="Ogbeide, Michael" userId="3f557f86-d7a3-4852-94e9-638660200706" providerId="ADAL" clId="{42ADADA5-8843-4258-97F9-3F46B7A19544}" dt="2022-03-24T20:07:55.335" v="698" actId="478"/>
          <ac:spMkLst>
            <pc:docMk/>
            <pc:sldMk cId="4059863109" sldId="2147374118"/>
            <ac:spMk id="3" creationId="{426AF9C5-7502-4B36-BD43-FF0C27FF748E}"/>
          </ac:spMkLst>
        </pc:spChg>
        <pc:spChg chg="add del mod">
          <ac:chgData name="Ogbeide, Michael" userId="3f557f86-d7a3-4852-94e9-638660200706" providerId="ADAL" clId="{42ADADA5-8843-4258-97F9-3F46B7A19544}" dt="2022-03-24T20:07:51.801" v="697" actId="478"/>
          <ac:spMkLst>
            <pc:docMk/>
            <pc:sldMk cId="4059863109" sldId="2147374118"/>
            <ac:spMk id="6" creationId="{FE5BC0B2-B30A-4BC3-8308-36E211D8F2DB}"/>
          </ac:spMkLst>
        </pc:spChg>
        <pc:spChg chg="add del mod">
          <ac:chgData name="Ogbeide, Michael" userId="3f557f86-d7a3-4852-94e9-638660200706" providerId="ADAL" clId="{42ADADA5-8843-4258-97F9-3F46B7A19544}" dt="2022-03-24T20:07:59.404" v="699" actId="478"/>
          <ac:spMkLst>
            <pc:docMk/>
            <pc:sldMk cId="4059863109" sldId="2147374118"/>
            <ac:spMk id="9" creationId="{36040DD9-B078-44A6-92FC-09869D597134}"/>
          </ac:spMkLst>
        </pc:spChg>
        <pc:graphicFrameChg chg="add mod modGraphic">
          <ac:chgData name="Ogbeide, Michael" userId="3f557f86-d7a3-4852-94e9-638660200706" providerId="ADAL" clId="{42ADADA5-8843-4258-97F9-3F46B7A19544}" dt="2022-03-24T21:11:07.876" v="1162" actId="1076"/>
          <ac:graphicFrameMkLst>
            <pc:docMk/>
            <pc:sldMk cId="4059863109" sldId="2147374118"/>
            <ac:graphicFrameMk id="7" creationId="{C34ADA34-CB9C-4CEA-B447-C4F571688E50}"/>
          </ac:graphicFrameMkLst>
        </pc:graphicFrameChg>
      </pc:sldChg>
      <pc:sldChg chg="addSp modSp add mod ord">
        <pc:chgData name="Ogbeide, Michael" userId="3f557f86-d7a3-4852-94e9-638660200706" providerId="ADAL" clId="{42ADADA5-8843-4258-97F9-3F46B7A19544}" dt="2022-03-29T10:35:10.691" v="3797" actId="20577"/>
        <pc:sldMkLst>
          <pc:docMk/>
          <pc:sldMk cId="3392254191" sldId="2147374119"/>
        </pc:sldMkLst>
        <pc:spChg chg="mod">
          <ac:chgData name="Ogbeide, Michael" userId="3f557f86-d7a3-4852-94e9-638660200706" providerId="ADAL" clId="{42ADADA5-8843-4258-97F9-3F46B7A19544}" dt="2022-03-25T09:40:35.317" v="1293" actId="20577"/>
          <ac:spMkLst>
            <pc:docMk/>
            <pc:sldMk cId="3392254191" sldId="2147374119"/>
            <ac:spMk id="2" creationId="{D3B8FA05-30C9-48B0-A106-6F86751AFA4D}"/>
          </ac:spMkLst>
        </pc:spChg>
        <pc:spChg chg="mod">
          <ac:chgData name="Ogbeide, Michael" userId="3f557f86-d7a3-4852-94e9-638660200706" providerId="ADAL" clId="{42ADADA5-8843-4258-97F9-3F46B7A19544}" dt="2022-03-29T10:17:26.949" v="3455" actId="14100"/>
          <ac:spMkLst>
            <pc:docMk/>
            <pc:sldMk cId="3392254191" sldId="2147374119"/>
            <ac:spMk id="3" creationId="{498BE026-30D9-4941-A5C4-FA2577FC58B5}"/>
          </ac:spMkLst>
        </pc:spChg>
        <pc:spChg chg="mod">
          <ac:chgData name="Ogbeide, Michael" userId="3f557f86-d7a3-4852-94e9-638660200706" providerId="ADAL" clId="{42ADADA5-8843-4258-97F9-3F46B7A19544}" dt="2022-03-25T09:44:04.451" v="1463" actId="20577"/>
          <ac:spMkLst>
            <pc:docMk/>
            <pc:sldMk cId="3392254191" sldId="2147374119"/>
            <ac:spMk id="5" creationId="{2917F247-E668-4F03-8D3D-0DC6A84F570E}"/>
          </ac:spMkLst>
        </pc:spChg>
        <pc:spChg chg="add mod">
          <ac:chgData name="Ogbeide, Michael" userId="3f557f86-d7a3-4852-94e9-638660200706" providerId="ADAL" clId="{42ADADA5-8843-4258-97F9-3F46B7A19544}" dt="2022-03-29T10:17:36.488" v="3459" actId="20577"/>
          <ac:spMkLst>
            <pc:docMk/>
            <pc:sldMk cId="3392254191" sldId="2147374119"/>
            <ac:spMk id="7" creationId="{385D3537-10EE-45DD-8D22-B46217210604}"/>
          </ac:spMkLst>
        </pc:spChg>
        <pc:spChg chg="mod">
          <ac:chgData name="Ogbeide, Michael" userId="3f557f86-d7a3-4852-94e9-638660200706" providerId="ADAL" clId="{42ADADA5-8843-4258-97F9-3F46B7A19544}" dt="2022-03-29T10:35:10.691" v="3797" actId="20577"/>
          <ac:spMkLst>
            <pc:docMk/>
            <pc:sldMk cId="3392254191" sldId="2147374119"/>
            <ac:spMk id="12" creationId="{607530BE-046F-488C-9625-342C1C470DBA}"/>
          </ac:spMkLst>
        </pc:spChg>
      </pc:sldChg>
      <pc:sldChg chg="addSp delSp modSp new del mod">
        <pc:chgData name="Ogbeide, Michael" userId="3f557f86-d7a3-4852-94e9-638660200706" providerId="ADAL" clId="{42ADADA5-8843-4258-97F9-3F46B7A19544}" dt="2022-03-27T21:54:18.246" v="2059" actId="2696"/>
        <pc:sldMkLst>
          <pc:docMk/>
          <pc:sldMk cId="1238367239" sldId="2147374120"/>
        </pc:sldMkLst>
        <pc:spChg chg="mod">
          <ac:chgData name="Ogbeide, Michael" userId="3f557f86-d7a3-4852-94e9-638660200706" providerId="ADAL" clId="{42ADADA5-8843-4258-97F9-3F46B7A19544}" dt="2022-03-25T15:09:40.148" v="1905" actId="20577"/>
          <ac:spMkLst>
            <pc:docMk/>
            <pc:sldMk cId="1238367239" sldId="2147374120"/>
            <ac:spMk id="3" creationId="{3F00F1FF-D7A0-4556-AB96-542BFB76C76B}"/>
          </ac:spMkLst>
        </pc:spChg>
        <pc:spChg chg="add del mod">
          <ac:chgData name="Ogbeide, Michael" userId="3f557f86-d7a3-4852-94e9-638660200706" providerId="ADAL" clId="{42ADADA5-8843-4258-97F9-3F46B7A19544}" dt="2022-03-25T15:09:05.748" v="1895" actId="478"/>
          <ac:spMkLst>
            <pc:docMk/>
            <pc:sldMk cId="1238367239" sldId="2147374120"/>
            <ac:spMk id="6" creationId="{D7A4349E-083B-4C71-AC29-7239CA27474E}"/>
          </ac:spMkLst>
        </pc:spChg>
        <pc:spChg chg="add del mod">
          <ac:chgData name="Ogbeide, Michael" userId="3f557f86-d7a3-4852-94e9-638660200706" providerId="ADAL" clId="{42ADADA5-8843-4258-97F9-3F46B7A19544}" dt="2022-03-25T15:09:42.828" v="1906" actId="478"/>
          <ac:spMkLst>
            <pc:docMk/>
            <pc:sldMk cId="1238367239" sldId="2147374120"/>
            <ac:spMk id="7" creationId="{06941937-92A9-4888-8770-011760527E5F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9" creationId="{8D72733D-081E-48F7-BA5A-47AF9B236842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10" creationId="{110ED090-3BB7-4C25-ABF8-3AC8FA3642AF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11" creationId="{C3CF596F-ACC7-4712-BF2B-55AFD3246004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12" creationId="{4DF6123E-9228-4F83-A18E-77E3336D4AE2}"/>
          </ac:spMkLst>
        </pc:spChg>
        <pc:spChg chg="add mod">
          <ac:chgData name="Ogbeide, Michael" userId="3f557f86-d7a3-4852-94e9-638660200706" providerId="ADAL" clId="{42ADADA5-8843-4258-97F9-3F46B7A19544}" dt="2022-03-25T15:12:50.141" v="1920" actId="207"/>
          <ac:spMkLst>
            <pc:docMk/>
            <pc:sldMk cId="1238367239" sldId="2147374120"/>
            <ac:spMk id="14" creationId="{07638615-846A-433F-A474-58ABCFFE766E}"/>
          </ac:spMkLst>
        </pc:spChg>
        <pc:spChg chg="add mod">
          <ac:chgData name="Ogbeide, Michael" userId="3f557f86-d7a3-4852-94e9-638660200706" providerId="ADAL" clId="{42ADADA5-8843-4258-97F9-3F46B7A19544}" dt="2022-03-25T15:12:15.600" v="1916" actId="207"/>
          <ac:spMkLst>
            <pc:docMk/>
            <pc:sldMk cId="1238367239" sldId="2147374120"/>
            <ac:spMk id="15" creationId="{EDD580AC-744B-4E92-9937-E65A5DC6FD01}"/>
          </ac:spMkLst>
        </pc:spChg>
        <pc:spChg chg="add mod">
          <ac:chgData name="Ogbeide, Michael" userId="3f557f86-d7a3-4852-94e9-638660200706" providerId="ADAL" clId="{42ADADA5-8843-4258-97F9-3F46B7A19544}" dt="2022-03-25T15:12:20.380" v="1917" actId="207"/>
          <ac:spMkLst>
            <pc:docMk/>
            <pc:sldMk cId="1238367239" sldId="2147374120"/>
            <ac:spMk id="16" creationId="{FE4F0CA5-5C64-4227-ADB7-19589EDC927B}"/>
          </ac:spMkLst>
        </pc:spChg>
        <pc:spChg chg="add mod">
          <ac:chgData name="Ogbeide, Michael" userId="3f557f86-d7a3-4852-94e9-638660200706" providerId="ADAL" clId="{42ADADA5-8843-4258-97F9-3F46B7A19544}" dt="2022-03-25T15:10:45.879" v="1908" actId="20577"/>
          <ac:spMkLst>
            <pc:docMk/>
            <pc:sldMk cId="1238367239" sldId="2147374120"/>
            <ac:spMk id="17" creationId="{2E4B2E81-D617-4E0C-A5AA-30FFCE4A5F32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18" creationId="{6CF3CA1A-B2BB-4651-AEAD-29E20EC4D14C}"/>
          </ac:spMkLst>
        </pc:spChg>
        <pc:spChg chg="mod">
          <ac:chgData name="Ogbeide, Michael" userId="3f557f86-d7a3-4852-94e9-638660200706" providerId="ADAL" clId="{42ADADA5-8843-4258-97F9-3F46B7A19544}" dt="2022-03-25T15:12:04.760" v="1914" actId="207"/>
          <ac:spMkLst>
            <pc:docMk/>
            <pc:sldMk cId="1238367239" sldId="2147374120"/>
            <ac:spMk id="20" creationId="{ECBE37BD-4260-4D42-B683-1CB1633B70C0}"/>
          </ac:spMkLst>
        </pc:spChg>
        <pc:spChg chg="mod">
          <ac:chgData name="Ogbeide, Michael" userId="3f557f86-d7a3-4852-94e9-638660200706" providerId="ADAL" clId="{42ADADA5-8843-4258-97F9-3F46B7A19544}" dt="2022-03-25T15:11:33.949" v="1912" actId="20577"/>
          <ac:spMkLst>
            <pc:docMk/>
            <pc:sldMk cId="1238367239" sldId="2147374120"/>
            <ac:spMk id="21" creationId="{0A223D0E-CD3B-4BCB-9D2C-AE6D4887FA3C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2" creationId="{0989302A-58D8-4B69-93DF-6101EAE541CA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3" creationId="{CD05E450-7DE3-4D6F-AD99-FEF69C666AAB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4" creationId="{73C9E079-2EB3-4D5F-B003-9BC0A7881D9E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5" creationId="{45560DA5-8575-418B-B692-9565D0017BF6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6" creationId="{1674CCFA-A971-475E-8552-A60DA6459910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27" creationId="{F98CF730-7179-48A3-BC79-729FC6184EB8}"/>
          </ac:spMkLst>
        </pc:spChg>
        <pc:spChg chg="add mod">
          <ac:chgData name="Ogbeide, Michael" userId="3f557f86-d7a3-4852-94e9-638660200706" providerId="ADAL" clId="{42ADADA5-8843-4258-97F9-3F46B7A19544}" dt="2022-03-25T15:12:08.021" v="1915" actId="207"/>
          <ac:spMkLst>
            <pc:docMk/>
            <pc:sldMk cId="1238367239" sldId="2147374120"/>
            <ac:spMk id="28" creationId="{96D6F6D6-31E1-4C7F-B12A-8AA6DF7CB98C}"/>
          </ac:spMkLst>
        </pc:spChg>
        <pc:spChg chg="mod">
          <ac:chgData name="Ogbeide, Michael" userId="3f557f86-d7a3-4852-94e9-638660200706" providerId="ADAL" clId="{42ADADA5-8843-4258-97F9-3F46B7A19544}" dt="2022-03-25T15:12:00.639" v="1913" actId="207"/>
          <ac:spMkLst>
            <pc:docMk/>
            <pc:sldMk cId="1238367239" sldId="2147374120"/>
            <ac:spMk id="30" creationId="{B20431D1-D505-44F1-B253-8931491F00C3}"/>
          </ac:spMkLst>
        </pc:spChg>
        <pc:spChg chg="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1" creationId="{6302D78A-BCF4-4A69-9047-AB65AAD053C3}"/>
          </ac:spMkLst>
        </pc:spChg>
        <pc:spChg chg="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2" creationId="{896E7F34-8004-473B-A77A-80547534E278}"/>
          </ac:spMkLst>
        </pc:spChg>
        <pc:spChg chg="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3" creationId="{58A1BCB6-5F88-4B62-ADB0-BDA054904DF4}"/>
          </ac:spMkLst>
        </pc:spChg>
        <pc:spChg chg="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4" creationId="{E51A6DC7-C701-48DB-B87B-A7CA523E319D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5" creationId="{DA781E6F-3DDF-4DA0-80B5-0762AC3D9BC1}"/>
          </ac:spMkLst>
        </pc:spChg>
        <pc:spChg chg="add mod">
          <ac:chgData name="Ogbeide, Michael" userId="3f557f86-d7a3-4852-94e9-638660200706" providerId="ADAL" clId="{42ADADA5-8843-4258-97F9-3F46B7A19544}" dt="2022-03-25T15:09:51.169" v="1907" actId="1076"/>
          <ac:spMkLst>
            <pc:docMk/>
            <pc:sldMk cId="1238367239" sldId="2147374120"/>
            <ac:spMk id="36" creationId="{A0548D40-C7DC-4967-B927-1B3E414D7A5B}"/>
          </ac:spMkLst>
        </pc:spChg>
        <pc:spChg chg="add mod">
          <ac:chgData name="Ogbeide, Michael" userId="3f557f86-d7a3-4852-94e9-638660200706" providerId="ADAL" clId="{42ADADA5-8843-4258-97F9-3F46B7A19544}" dt="2022-03-25T15:12:38.220" v="1919" actId="14100"/>
          <ac:spMkLst>
            <pc:docMk/>
            <pc:sldMk cId="1238367239" sldId="2147374120"/>
            <ac:spMk id="37" creationId="{B63A1B08-7148-4335-BA5F-4ACF5E6A0A28}"/>
          </ac:spMkLst>
        </pc:spChg>
        <pc:spChg chg="add mod">
          <ac:chgData name="Ogbeide, Michael" userId="3f557f86-d7a3-4852-94e9-638660200706" providerId="ADAL" clId="{42ADADA5-8843-4258-97F9-3F46B7A19544}" dt="2022-03-25T15:09:12.115" v="1897" actId="1076"/>
          <ac:spMkLst>
            <pc:docMk/>
            <pc:sldMk cId="1238367239" sldId="2147374120"/>
            <ac:spMk id="38" creationId="{9D5BF274-1702-435C-AA64-2FF0CCF78D03}"/>
          </ac:spMkLst>
        </pc:spChg>
        <pc:grpChg chg="add mod">
          <ac:chgData name="Ogbeide, Michael" userId="3f557f86-d7a3-4852-94e9-638660200706" providerId="ADAL" clId="{42ADADA5-8843-4258-97F9-3F46B7A19544}" dt="2022-03-25T15:09:51.169" v="1907" actId="1076"/>
          <ac:grpSpMkLst>
            <pc:docMk/>
            <pc:sldMk cId="1238367239" sldId="2147374120"/>
            <ac:grpSpMk id="19" creationId="{3E357D22-3EF2-41F1-97C7-01BD359E7587}"/>
          </ac:grpSpMkLst>
        </pc:grpChg>
        <pc:grpChg chg="add mod">
          <ac:chgData name="Ogbeide, Michael" userId="3f557f86-d7a3-4852-94e9-638660200706" providerId="ADAL" clId="{42ADADA5-8843-4258-97F9-3F46B7A19544}" dt="2022-03-25T15:09:51.169" v="1907" actId="1076"/>
          <ac:grpSpMkLst>
            <pc:docMk/>
            <pc:sldMk cId="1238367239" sldId="2147374120"/>
            <ac:grpSpMk id="29" creationId="{6E37F585-7A05-42D1-A21C-A88AC0CF3B60}"/>
          </ac:grpSpMkLst>
        </pc:grpChg>
        <pc:cxnChg chg="add mod">
          <ac:chgData name="Ogbeide, Michael" userId="3f557f86-d7a3-4852-94e9-638660200706" providerId="ADAL" clId="{42ADADA5-8843-4258-97F9-3F46B7A19544}" dt="2022-03-25T15:09:51.169" v="1907" actId="1076"/>
          <ac:cxnSpMkLst>
            <pc:docMk/>
            <pc:sldMk cId="1238367239" sldId="2147374120"/>
            <ac:cxnSpMk id="8" creationId="{166C18E5-3E64-4BAF-8AF9-C9FF1A1463B3}"/>
          </ac:cxnSpMkLst>
        </pc:cxnChg>
        <pc:cxnChg chg="add mod">
          <ac:chgData name="Ogbeide, Michael" userId="3f557f86-d7a3-4852-94e9-638660200706" providerId="ADAL" clId="{42ADADA5-8843-4258-97F9-3F46B7A19544}" dt="2022-03-25T15:09:51.169" v="1907" actId="1076"/>
          <ac:cxnSpMkLst>
            <pc:docMk/>
            <pc:sldMk cId="1238367239" sldId="2147374120"/>
            <ac:cxnSpMk id="13" creationId="{D5F90AEA-83B0-450D-B0F9-71D1F7D5C010}"/>
          </ac:cxnSpMkLst>
        </pc:cxnChg>
      </pc:sldChg>
      <pc:sldChg chg="delSp modSp add mod ord">
        <pc:chgData name="Ogbeide, Michael" userId="3f557f86-d7a3-4852-94e9-638660200706" providerId="ADAL" clId="{42ADADA5-8843-4258-97F9-3F46B7A19544}" dt="2022-03-29T10:27:23.010" v="3670" actId="20577"/>
        <pc:sldMkLst>
          <pc:docMk/>
          <pc:sldMk cId="4172594149" sldId="2147374120"/>
        </pc:sldMkLst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" creationId="{D5D4C190-EBF3-4C9B-96EF-1D46036EF587}"/>
          </ac:spMkLst>
        </pc:spChg>
        <pc:spChg chg="mod">
          <ac:chgData name="Ogbeide, Michael" userId="3f557f86-d7a3-4852-94e9-638660200706" providerId="ADAL" clId="{42ADADA5-8843-4258-97F9-3F46B7A19544}" dt="2022-03-29T10:27:23.010" v="3670" actId="20577"/>
          <ac:spMkLst>
            <pc:docMk/>
            <pc:sldMk cId="4172594149" sldId="2147374120"/>
            <ac:spMk id="3" creationId="{3F00F1FF-D7A0-4556-AB96-542BFB76C76B}"/>
          </ac:spMkLst>
        </pc:spChg>
        <pc:spChg chg="del mod">
          <ac:chgData name="Ogbeide, Michael" userId="3f557f86-d7a3-4852-94e9-638660200706" providerId="ADAL" clId="{42ADADA5-8843-4258-97F9-3F46B7A19544}" dt="2022-03-29T08:57:18.548" v="3270" actId="478"/>
          <ac:spMkLst>
            <pc:docMk/>
            <pc:sldMk cId="4172594149" sldId="2147374120"/>
            <ac:spMk id="4" creationId="{73834530-B49A-4016-AF7A-21F9C1EB17A9}"/>
          </ac:spMkLst>
        </pc:spChg>
        <pc:spChg chg="del mod">
          <ac:chgData name="Ogbeide, Michael" userId="3f557f86-d7a3-4852-94e9-638660200706" providerId="ADAL" clId="{42ADADA5-8843-4258-97F9-3F46B7A19544}" dt="2022-03-29T08:57:18.548" v="3270" actId="478"/>
          <ac:spMkLst>
            <pc:docMk/>
            <pc:sldMk cId="4172594149" sldId="2147374120"/>
            <ac:spMk id="5" creationId="{AD8551D1-7394-485D-B5C4-95FD7E3A26CE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9" creationId="{8D72733D-081E-48F7-BA5A-47AF9B236842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0" creationId="{110ED090-3BB7-4C25-ABF8-3AC8FA3642AF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1" creationId="{C3CF596F-ACC7-4712-BF2B-55AFD3246004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2" creationId="{4DF6123E-9228-4F83-A18E-77E3336D4AE2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4" creationId="{07638615-846A-433F-A474-58ABCFFE766E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5" creationId="{EDD580AC-744B-4E92-9937-E65A5DC6FD01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6" creationId="{FE4F0CA5-5C64-4227-ADB7-19589EDC927B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7" creationId="{2E4B2E81-D617-4E0C-A5AA-30FFCE4A5F32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18" creationId="{6CF3CA1A-B2BB-4651-AEAD-29E20EC4D14C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0" creationId="{ECBE37BD-4260-4D42-B683-1CB1633B70C0}"/>
          </ac:spMkLst>
        </pc:spChg>
        <pc:spChg chg="mod">
          <ac:chgData name="Ogbeide, Michael" userId="3f557f86-d7a3-4852-94e9-638660200706" providerId="ADAL" clId="{42ADADA5-8843-4258-97F9-3F46B7A19544}" dt="2022-03-29T08:58:55.570" v="3320" actId="20577"/>
          <ac:spMkLst>
            <pc:docMk/>
            <pc:sldMk cId="4172594149" sldId="2147374120"/>
            <ac:spMk id="21" creationId="{0A223D0E-CD3B-4BCB-9D2C-AE6D4887FA3C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2" creationId="{0989302A-58D8-4B69-93DF-6101EAE541CA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3" creationId="{CD05E450-7DE3-4D6F-AD99-FEF69C666AAB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4" creationId="{73C9E079-2EB3-4D5F-B003-9BC0A7881D9E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5" creationId="{45560DA5-8575-418B-B692-9565D0017BF6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6" creationId="{1674CCFA-A971-475E-8552-A60DA6459910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7" creationId="{F98CF730-7179-48A3-BC79-729FC6184EB8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28" creationId="{96D6F6D6-31E1-4C7F-B12A-8AA6DF7CB98C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0" creationId="{B20431D1-D505-44F1-B253-8931491F00C3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1" creationId="{6302D78A-BCF4-4A69-9047-AB65AAD053C3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2" creationId="{896E7F34-8004-473B-A77A-80547534E278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3" creationId="{58A1BCB6-5F88-4B62-ADB0-BDA054904DF4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4" creationId="{E51A6DC7-C701-48DB-B87B-A7CA523E319D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5" creationId="{DA781E6F-3DDF-4DA0-80B5-0762AC3D9BC1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6" creationId="{A0548D40-C7DC-4967-B927-1B3E414D7A5B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7" creationId="{B63A1B08-7148-4335-BA5F-4ACF5E6A0A28}"/>
          </ac:spMkLst>
        </pc:spChg>
        <pc:spChg chg="mod">
          <ac:chgData name="Ogbeide, Michael" userId="3f557f86-d7a3-4852-94e9-638660200706" providerId="ADAL" clId="{42ADADA5-8843-4258-97F9-3F46B7A19544}" dt="2022-03-27T22:57:36.404" v="2515" actId="404"/>
          <ac:spMkLst>
            <pc:docMk/>
            <pc:sldMk cId="4172594149" sldId="2147374120"/>
            <ac:spMk id="38" creationId="{9D5BF274-1702-435C-AA64-2FF0CCF78D03}"/>
          </ac:spMkLst>
        </pc:spChg>
        <pc:grpChg chg="mod">
          <ac:chgData name="Ogbeide, Michael" userId="3f557f86-d7a3-4852-94e9-638660200706" providerId="ADAL" clId="{42ADADA5-8843-4258-97F9-3F46B7A19544}" dt="2022-03-27T22:57:36.404" v="2515" actId="404"/>
          <ac:grpSpMkLst>
            <pc:docMk/>
            <pc:sldMk cId="4172594149" sldId="2147374120"/>
            <ac:grpSpMk id="19" creationId="{3E357D22-3EF2-41F1-97C7-01BD359E7587}"/>
          </ac:grpSpMkLst>
        </pc:grpChg>
        <pc:grpChg chg="mod">
          <ac:chgData name="Ogbeide, Michael" userId="3f557f86-d7a3-4852-94e9-638660200706" providerId="ADAL" clId="{42ADADA5-8843-4258-97F9-3F46B7A19544}" dt="2022-03-27T22:57:36.404" v="2515" actId="404"/>
          <ac:grpSpMkLst>
            <pc:docMk/>
            <pc:sldMk cId="4172594149" sldId="2147374120"/>
            <ac:grpSpMk id="29" creationId="{6E37F585-7A05-42D1-A21C-A88AC0CF3B60}"/>
          </ac:grpSpMkLst>
        </pc:grpChg>
        <pc:cxnChg chg="mod">
          <ac:chgData name="Ogbeide, Michael" userId="3f557f86-d7a3-4852-94e9-638660200706" providerId="ADAL" clId="{42ADADA5-8843-4258-97F9-3F46B7A19544}" dt="2022-03-27T22:57:36.404" v="2515" actId="404"/>
          <ac:cxnSpMkLst>
            <pc:docMk/>
            <pc:sldMk cId="4172594149" sldId="2147374120"/>
            <ac:cxnSpMk id="8" creationId="{166C18E5-3E64-4BAF-8AF9-C9FF1A1463B3}"/>
          </ac:cxnSpMkLst>
        </pc:cxnChg>
        <pc:cxnChg chg="mod">
          <ac:chgData name="Ogbeide, Michael" userId="3f557f86-d7a3-4852-94e9-638660200706" providerId="ADAL" clId="{42ADADA5-8843-4258-97F9-3F46B7A19544}" dt="2022-03-27T22:57:36.404" v="2515" actId="404"/>
          <ac:cxnSpMkLst>
            <pc:docMk/>
            <pc:sldMk cId="4172594149" sldId="2147374120"/>
            <ac:cxnSpMk id="13" creationId="{D5F90AEA-83B0-450D-B0F9-71D1F7D5C010}"/>
          </ac:cxnSpMkLst>
        </pc:cxnChg>
      </pc:sldChg>
      <pc:sldChg chg="addSp delSp modSp new mod modClrScheme chgLayout">
        <pc:chgData name="Ogbeide, Michael" userId="3f557f86-d7a3-4852-94e9-638660200706" providerId="ADAL" clId="{42ADADA5-8843-4258-97F9-3F46B7A19544}" dt="2022-03-25T15:13:20.293" v="1930" actId="20577"/>
        <pc:sldMkLst>
          <pc:docMk/>
          <pc:sldMk cId="1975571231" sldId="2147374121"/>
        </pc:sldMkLst>
        <pc:spChg chg="del mod ord">
          <ac:chgData name="Ogbeide, Michael" userId="3f557f86-d7a3-4852-94e9-638660200706" providerId="ADAL" clId="{42ADADA5-8843-4258-97F9-3F46B7A19544}" dt="2022-03-25T15:13:15.820" v="1922" actId="700"/>
          <ac:spMkLst>
            <pc:docMk/>
            <pc:sldMk cId="1975571231" sldId="2147374121"/>
            <ac:spMk id="2" creationId="{6D966236-B872-4A56-8540-49CAA5773A79}"/>
          </ac:spMkLst>
        </pc:spChg>
        <pc:spChg chg="del mod ord">
          <ac:chgData name="Ogbeide, Michael" userId="3f557f86-d7a3-4852-94e9-638660200706" providerId="ADAL" clId="{42ADADA5-8843-4258-97F9-3F46B7A19544}" dt="2022-03-25T15:13:15.820" v="1922" actId="700"/>
          <ac:spMkLst>
            <pc:docMk/>
            <pc:sldMk cId="1975571231" sldId="2147374121"/>
            <ac:spMk id="3" creationId="{8DCA073A-95DC-4D10-8BF0-BA7A0B1CA36B}"/>
          </ac:spMkLst>
        </pc:spChg>
        <pc:spChg chg="add mod ord">
          <ac:chgData name="Ogbeide, Michael" userId="3f557f86-d7a3-4852-94e9-638660200706" providerId="ADAL" clId="{42ADADA5-8843-4258-97F9-3F46B7A19544}" dt="2022-03-25T15:13:20.293" v="1930" actId="20577"/>
          <ac:spMkLst>
            <pc:docMk/>
            <pc:sldMk cId="1975571231" sldId="2147374121"/>
            <ac:spMk id="4" creationId="{DA749881-0A04-4E4E-8E67-720D03DB21F2}"/>
          </ac:spMkLst>
        </pc:spChg>
        <pc:spChg chg="add mod ord">
          <ac:chgData name="Ogbeide, Michael" userId="3f557f86-d7a3-4852-94e9-638660200706" providerId="ADAL" clId="{42ADADA5-8843-4258-97F9-3F46B7A19544}" dt="2022-03-25T15:13:15.820" v="1922" actId="700"/>
          <ac:spMkLst>
            <pc:docMk/>
            <pc:sldMk cId="1975571231" sldId="2147374121"/>
            <ac:spMk id="5" creationId="{224277A1-12EC-4981-AF8E-2F1FC8721F17}"/>
          </ac:spMkLst>
        </pc:spChg>
      </pc:sldChg>
      <pc:sldChg chg="addSp delSp modSp new mod ord">
        <pc:chgData name="Ogbeide, Michael" userId="3f557f86-d7a3-4852-94e9-638660200706" providerId="ADAL" clId="{42ADADA5-8843-4258-97F9-3F46B7A19544}" dt="2022-03-29T11:25:10.226" v="4003" actId="20577"/>
        <pc:sldMkLst>
          <pc:docMk/>
          <pc:sldMk cId="1138036988" sldId="2147374122"/>
        </pc:sldMkLst>
        <pc:spChg chg="mod">
          <ac:chgData name="Ogbeide, Michael" userId="3f557f86-d7a3-4852-94e9-638660200706" providerId="ADAL" clId="{42ADADA5-8843-4258-97F9-3F46B7A19544}" dt="2022-03-29T10:50:14.041" v="3834" actId="20577"/>
          <ac:spMkLst>
            <pc:docMk/>
            <pc:sldMk cId="1138036988" sldId="2147374122"/>
            <ac:spMk id="2" creationId="{36966CC2-7FB0-4FDD-9BCC-1D049636B8E9}"/>
          </ac:spMkLst>
        </pc:spChg>
        <pc:spChg chg="del mod">
          <ac:chgData name="Ogbeide, Michael" userId="3f557f86-d7a3-4852-94e9-638660200706" providerId="ADAL" clId="{42ADADA5-8843-4258-97F9-3F46B7A19544}" dt="2022-03-27T23:20:02.242" v="2723" actId="478"/>
          <ac:spMkLst>
            <pc:docMk/>
            <pc:sldMk cId="1138036988" sldId="2147374122"/>
            <ac:spMk id="3" creationId="{72EE86C2-D483-4DDE-AC49-DB98D3EF88C6}"/>
          </ac:spMkLst>
        </pc:spChg>
        <pc:spChg chg="mod">
          <ac:chgData name="Ogbeide, Michael" userId="3f557f86-d7a3-4852-94e9-638660200706" providerId="ADAL" clId="{42ADADA5-8843-4258-97F9-3F46B7A19544}" dt="2022-03-27T21:55:59.987" v="2167" actId="2711"/>
          <ac:spMkLst>
            <pc:docMk/>
            <pc:sldMk cId="1138036988" sldId="2147374122"/>
            <ac:spMk id="4" creationId="{131099AB-2254-41B5-95B0-CF4067F16D3A}"/>
          </ac:spMkLst>
        </pc:spChg>
        <pc:spChg chg="add mod">
          <ac:chgData name="Ogbeide, Michael" userId="3f557f86-d7a3-4852-94e9-638660200706" providerId="ADAL" clId="{42ADADA5-8843-4258-97F9-3F46B7A19544}" dt="2022-03-29T11:25:10.226" v="4003" actId="20577"/>
          <ac:spMkLst>
            <pc:docMk/>
            <pc:sldMk cId="1138036988" sldId="2147374122"/>
            <ac:spMk id="6" creationId="{11FDA238-175E-425B-8C88-FCCFF2E6145E}"/>
          </ac:spMkLst>
        </pc:spChg>
        <pc:spChg chg="add del mod">
          <ac:chgData name="Ogbeide, Michael" userId="3f557f86-d7a3-4852-94e9-638660200706" providerId="ADAL" clId="{42ADADA5-8843-4258-97F9-3F46B7A19544}" dt="2022-03-27T23:20:07.137" v="2726" actId="478"/>
          <ac:spMkLst>
            <pc:docMk/>
            <pc:sldMk cId="1138036988" sldId="2147374122"/>
            <ac:spMk id="6" creationId="{A18A6679-E4E2-49ED-89DA-926B0ADB0861}"/>
          </ac:spMkLst>
        </pc:spChg>
        <pc:spChg chg="add del mod">
          <ac:chgData name="Ogbeide, Michael" userId="3f557f86-d7a3-4852-94e9-638660200706" providerId="ADAL" clId="{42ADADA5-8843-4258-97F9-3F46B7A19544}" dt="2022-03-27T23:20:04.227" v="2725"/>
          <ac:spMkLst>
            <pc:docMk/>
            <pc:sldMk cId="1138036988" sldId="2147374122"/>
            <ac:spMk id="7" creationId="{01F951B9-0082-4054-8D5A-964B9C6C9F84}"/>
          </ac:spMkLst>
        </pc:spChg>
        <pc:spChg chg="add mod">
          <ac:chgData name="Ogbeide, Michael" userId="3f557f86-d7a3-4852-94e9-638660200706" providerId="ADAL" clId="{42ADADA5-8843-4258-97F9-3F46B7A19544}" dt="2022-03-29T10:53:38.989" v="3946" actId="14100"/>
          <ac:spMkLst>
            <pc:docMk/>
            <pc:sldMk cId="1138036988" sldId="2147374122"/>
            <ac:spMk id="8" creationId="{3608870B-4D2E-4D8E-81FD-973DFEEF91AA}"/>
          </ac:spMkLst>
        </pc:spChg>
      </pc:sldChg>
      <pc:sldChg chg="addSp delSp modSp add mod">
        <pc:chgData name="Ogbeide, Michael" userId="3f557f86-d7a3-4852-94e9-638660200706" providerId="ADAL" clId="{42ADADA5-8843-4258-97F9-3F46B7A19544}" dt="2022-03-29T10:55:29.089" v="3971" actId="20577"/>
        <pc:sldMkLst>
          <pc:docMk/>
          <pc:sldMk cId="4150510022" sldId="2147374123"/>
        </pc:sldMkLst>
        <pc:spChg chg="del mod">
          <ac:chgData name="Ogbeide, Michael" userId="3f557f86-d7a3-4852-94e9-638660200706" providerId="ADAL" clId="{42ADADA5-8843-4258-97F9-3F46B7A19544}" dt="2022-03-28T16:13:58.024" v="2946" actId="478"/>
          <ac:spMkLst>
            <pc:docMk/>
            <pc:sldMk cId="4150510022" sldId="2147374123"/>
            <ac:spMk id="3" creationId="{72EE86C2-D483-4DDE-AC49-DB98D3EF88C6}"/>
          </ac:spMkLst>
        </pc:spChg>
        <pc:spChg chg="add del mod">
          <ac:chgData name="Ogbeide, Michael" userId="3f557f86-d7a3-4852-94e9-638660200706" providerId="ADAL" clId="{42ADADA5-8843-4258-97F9-3F46B7A19544}" dt="2022-03-29T10:23:47.666" v="3648" actId="478"/>
          <ac:spMkLst>
            <pc:docMk/>
            <pc:sldMk cId="4150510022" sldId="2147374123"/>
            <ac:spMk id="5" creationId="{5466E34F-789E-4478-9545-ADC5597437C6}"/>
          </ac:spMkLst>
        </pc:spChg>
        <pc:spChg chg="add del mod">
          <ac:chgData name="Ogbeide, Michael" userId="3f557f86-d7a3-4852-94e9-638660200706" providerId="ADAL" clId="{42ADADA5-8843-4258-97F9-3F46B7A19544}" dt="2022-03-28T16:14:01.936" v="2947" actId="478"/>
          <ac:spMkLst>
            <pc:docMk/>
            <pc:sldMk cId="4150510022" sldId="2147374123"/>
            <ac:spMk id="6" creationId="{11839312-ED37-4B7A-BAD8-B57CE04FE5A2}"/>
          </ac:spMkLst>
        </pc:spChg>
        <pc:spChg chg="add del mod">
          <ac:chgData name="Ogbeide, Michael" userId="3f557f86-d7a3-4852-94e9-638660200706" providerId="ADAL" clId="{42ADADA5-8843-4258-97F9-3F46B7A19544}" dt="2022-03-29T08:35:51.188" v="3185" actId="478"/>
          <ac:spMkLst>
            <pc:docMk/>
            <pc:sldMk cId="4150510022" sldId="2147374123"/>
            <ac:spMk id="7" creationId="{17BAE77E-EF04-4F96-9030-D8AE63FF914F}"/>
          </ac:spMkLst>
        </pc:spChg>
        <pc:spChg chg="add del mod">
          <ac:chgData name="Ogbeide, Michael" userId="3f557f86-d7a3-4852-94e9-638660200706" providerId="ADAL" clId="{42ADADA5-8843-4258-97F9-3F46B7A19544}" dt="2022-03-29T10:54:48.553" v="3948" actId="478"/>
          <ac:spMkLst>
            <pc:docMk/>
            <pc:sldMk cId="4150510022" sldId="2147374123"/>
            <ac:spMk id="7" creationId="{9EAC729A-4C1C-4217-873E-FD3BB9A80EE7}"/>
          </ac:spMkLst>
        </pc:spChg>
        <pc:spChg chg="add del mod">
          <ac:chgData name="Ogbeide, Michael" userId="3f557f86-d7a3-4852-94e9-638660200706" providerId="ADAL" clId="{42ADADA5-8843-4258-97F9-3F46B7A19544}" dt="2022-03-29T10:54:50.697" v="3949" actId="478"/>
          <ac:spMkLst>
            <pc:docMk/>
            <pc:sldMk cId="4150510022" sldId="2147374123"/>
            <ac:spMk id="8" creationId="{BD46059A-BD59-478A-AB3B-54B3BE5523A6}"/>
          </ac:spMkLst>
        </pc:spChg>
        <pc:spChg chg="add del mod">
          <ac:chgData name="Ogbeide, Michael" userId="3f557f86-d7a3-4852-94e9-638660200706" providerId="ADAL" clId="{42ADADA5-8843-4258-97F9-3F46B7A19544}" dt="2022-03-29T08:35:54.091" v="3186" actId="478"/>
          <ac:spMkLst>
            <pc:docMk/>
            <pc:sldMk cId="4150510022" sldId="2147374123"/>
            <ac:spMk id="9" creationId="{25DE2CDF-D167-4925-A868-FA4CC4CE7273}"/>
          </ac:spMkLst>
        </pc:spChg>
        <pc:spChg chg="add del mod">
          <ac:chgData name="Ogbeide, Michael" userId="3f557f86-d7a3-4852-94e9-638660200706" providerId="ADAL" clId="{42ADADA5-8843-4258-97F9-3F46B7A19544}" dt="2022-03-29T10:23:45.378" v="3647" actId="478"/>
          <ac:spMkLst>
            <pc:docMk/>
            <pc:sldMk cId="4150510022" sldId="2147374123"/>
            <ac:spMk id="10" creationId="{2E7E035F-EF84-4DBF-86AC-700E23F48999}"/>
          </ac:spMkLst>
        </pc:spChg>
        <pc:spChg chg="add mod">
          <ac:chgData name="Ogbeide, Michael" userId="3f557f86-d7a3-4852-94e9-638660200706" providerId="ADAL" clId="{42ADADA5-8843-4258-97F9-3F46B7A19544}" dt="2022-03-29T10:55:29.089" v="3971" actId="20577"/>
          <ac:spMkLst>
            <pc:docMk/>
            <pc:sldMk cId="4150510022" sldId="2147374123"/>
            <ac:spMk id="11" creationId="{8F66CDDF-2FC6-4CFE-9A27-55B8F4B5742D}"/>
          </ac:spMkLst>
        </pc:spChg>
      </pc:sldChg>
    </pc:docChg>
  </pc:docChgLst>
  <pc:docChgLst>
    <pc:chgData name="Ogbeide, Michael" userId="S::a4023377@astellas.com::3f557f86-d7a3-4852-94e9-638660200706" providerId="AD" clId="Web-{553BDB08-067F-4CBD-AD1A-BA72B809FD98}"/>
    <pc:docChg chg="modSld">
      <pc:chgData name="Ogbeide, Michael" userId="S::a4023377@astellas.com::3f557f86-d7a3-4852-94e9-638660200706" providerId="AD" clId="Web-{553BDB08-067F-4CBD-AD1A-BA72B809FD98}" dt="2022-03-21T10:09:44.319" v="0"/>
      <pc:docMkLst>
        <pc:docMk/>
      </pc:docMkLst>
      <pc:sldChg chg="delSp">
        <pc:chgData name="Ogbeide, Michael" userId="S::a4023377@astellas.com::3f557f86-d7a3-4852-94e9-638660200706" providerId="AD" clId="Web-{553BDB08-067F-4CBD-AD1A-BA72B809FD98}" dt="2022-03-21T10:09:44.319" v="0"/>
        <pc:sldMkLst>
          <pc:docMk/>
          <pc:sldMk cId="3523812199" sldId="526"/>
        </pc:sldMkLst>
        <pc:spChg chg="del">
          <ac:chgData name="Ogbeide, Michael" userId="S::a4023377@astellas.com::3f557f86-d7a3-4852-94e9-638660200706" providerId="AD" clId="Web-{553BDB08-067F-4CBD-AD1A-BA72B809FD98}" dt="2022-03-21T10:09:44.319" v="0"/>
          <ac:spMkLst>
            <pc:docMk/>
            <pc:sldMk cId="3523812199" sldId="526"/>
            <ac:spMk id="8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711CD9-276A-40DB-B30B-1B29A436390F}" type="datetimeFigureOut">
              <a:rPr lang="en-GB" smtClean="0"/>
              <a:t>31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841504-CDA3-48C1-B533-11F202CD62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778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2125" y="538163"/>
            <a:ext cx="3022600" cy="17002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5030" y="3092028"/>
            <a:ext cx="4935617" cy="686646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 typeface="Wingdings" pitchFamily="2" charset="2"/>
              <a:buNone/>
            </a:pPr>
            <a:endParaRPr lang="en-US" altLang="ja-JP" b="1"/>
          </a:p>
        </p:txBody>
      </p:sp>
    </p:spTree>
    <p:extLst>
      <p:ext uri="{BB962C8B-B14F-4D97-AF65-F5344CB8AC3E}">
        <p14:creationId xmlns:p14="http://schemas.microsoft.com/office/powerpoint/2010/main" val="1520966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41504-CDA3-48C1-B533-11F202CD627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7761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1ED77-DBB1-4DB9-AED6-9321CCB7B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446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7B94FD-1F01-48A4-BF37-7CDE892390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328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7B94FD-1F01-48A4-BF37-7CDE892390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443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568450" y="3362164"/>
            <a:ext cx="8838292" cy="59412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lang="en-US" sz="2400" b="0" kern="120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568449" y="1603613"/>
            <a:ext cx="8838293" cy="1800519"/>
          </a:xfrm>
        </p:spPr>
        <p:txBody>
          <a:bodyPr anchor="b" anchorCtr="0">
            <a:normAutofit/>
          </a:bodyPr>
          <a:lstStyle>
            <a:lvl1pPr algn="l">
              <a:lnSpc>
                <a:spcPct val="83000"/>
              </a:lnSpc>
              <a:defRPr kumimoji="0" lang="en-US" sz="4800" b="1" i="0" u="none" strike="noStrike" kern="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918" y="396059"/>
            <a:ext cx="3288065" cy="898049"/>
          </a:xfrm>
          <a:prstGeom prst="rect">
            <a:avLst/>
          </a:prstGeom>
        </p:spPr>
      </p:pic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-7620" y="4613251"/>
            <a:ext cx="12207240" cy="1785944"/>
            <a:chOff x="0" y="4613251"/>
            <a:chExt cx="12192000" cy="1783714"/>
          </a:xfrm>
        </p:grpSpPr>
        <p:sp>
          <p:nvSpPr>
            <p:cNvPr id="11" name="object 18"/>
            <p:cNvSpPr/>
            <p:nvPr userDrawn="1"/>
          </p:nvSpPr>
          <p:spPr>
            <a:xfrm>
              <a:off x="0" y="4613251"/>
              <a:ext cx="12192000" cy="1783714"/>
            </a:xfrm>
            <a:custGeom>
              <a:avLst/>
              <a:gdLst/>
              <a:ahLst/>
              <a:cxnLst/>
              <a:rect l="l" t="t" r="r" b="b"/>
              <a:pathLst>
                <a:path w="12192000" h="1783714">
                  <a:moveTo>
                    <a:pt x="0" y="1669073"/>
                  </a:moveTo>
                  <a:lnTo>
                    <a:pt x="43521" y="1675430"/>
                  </a:lnTo>
                  <a:lnTo>
                    <a:pt x="90906" y="1682117"/>
                  </a:lnTo>
                  <a:lnTo>
                    <a:pt x="138340" y="1688577"/>
                  </a:lnTo>
                  <a:lnTo>
                    <a:pt x="185821" y="1694813"/>
                  </a:lnTo>
                  <a:lnTo>
                    <a:pt x="233351" y="1700825"/>
                  </a:lnTo>
                  <a:lnTo>
                    <a:pt x="280927" y="1706615"/>
                  </a:lnTo>
                  <a:lnTo>
                    <a:pt x="328551" y="1712183"/>
                  </a:lnTo>
                  <a:lnTo>
                    <a:pt x="376220" y="1717531"/>
                  </a:lnTo>
                  <a:lnTo>
                    <a:pt x="423936" y="1722660"/>
                  </a:lnTo>
                  <a:lnTo>
                    <a:pt x="471697" y="1727571"/>
                  </a:lnTo>
                  <a:lnTo>
                    <a:pt x="519502" y="1732265"/>
                  </a:lnTo>
                  <a:lnTo>
                    <a:pt x="567352" y="1736743"/>
                  </a:lnTo>
                  <a:lnTo>
                    <a:pt x="615246" y="1741008"/>
                  </a:lnTo>
                  <a:lnTo>
                    <a:pt x="663184" y="1745059"/>
                  </a:lnTo>
                  <a:lnTo>
                    <a:pt x="711165" y="1748898"/>
                  </a:lnTo>
                  <a:lnTo>
                    <a:pt x="759188" y="1752526"/>
                  </a:lnTo>
                  <a:lnTo>
                    <a:pt x="807253" y="1755944"/>
                  </a:lnTo>
                  <a:lnTo>
                    <a:pt x="855361" y="1759154"/>
                  </a:lnTo>
                  <a:lnTo>
                    <a:pt x="903509" y="1762157"/>
                  </a:lnTo>
                  <a:lnTo>
                    <a:pt x="951698" y="1764953"/>
                  </a:lnTo>
                  <a:lnTo>
                    <a:pt x="999927" y="1767545"/>
                  </a:lnTo>
                  <a:lnTo>
                    <a:pt x="1048197" y="1769932"/>
                  </a:lnTo>
                  <a:lnTo>
                    <a:pt x="1096505" y="1772117"/>
                  </a:lnTo>
                  <a:lnTo>
                    <a:pt x="1144853" y="1774100"/>
                  </a:lnTo>
                  <a:lnTo>
                    <a:pt x="1193239" y="1775883"/>
                  </a:lnTo>
                  <a:lnTo>
                    <a:pt x="1241663" y="1777467"/>
                  </a:lnTo>
                  <a:lnTo>
                    <a:pt x="1290125" y="1778853"/>
                  </a:lnTo>
                  <a:lnTo>
                    <a:pt x="1338623" y="1780042"/>
                  </a:lnTo>
                  <a:lnTo>
                    <a:pt x="1387159" y="1781035"/>
                  </a:lnTo>
                  <a:lnTo>
                    <a:pt x="1435730" y="1781834"/>
                  </a:lnTo>
                  <a:lnTo>
                    <a:pt x="1484338" y="1782439"/>
                  </a:lnTo>
                  <a:lnTo>
                    <a:pt x="1532980" y="1782852"/>
                  </a:lnTo>
                  <a:lnTo>
                    <a:pt x="1581658" y="1783075"/>
                  </a:lnTo>
                  <a:lnTo>
                    <a:pt x="1630369" y="1783107"/>
                  </a:lnTo>
                  <a:lnTo>
                    <a:pt x="1679115" y="1782951"/>
                  </a:lnTo>
                  <a:lnTo>
                    <a:pt x="1727894" y="1782607"/>
                  </a:lnTo>
                  <a:lnTo>
                    <a:pt x="1776706" y="1782077"/>
                  </a:lnTo>
                  <a:lnTo>
                    <a:pt x="1825551" y="1781362"/>
                  </a:lnTo>
                  <a:lnTo>
                    <a:pt x="1874427" y="1780463"/>
                  </a:lnTo>
                  <a:lnTo>
                    <a:pt x="1923335" y="1779381"/>
                  </a:lnTo>
                  <a:lnTo>
                    <a:pt x="1972275" y="1778118"/>
                  </a:lnTo>
                  <a:lnTo>
                    <a:pt x="2021245" y="1776674"/>
                  </a:lnTo>
                  <a:lnTo>
                    <a:pt x="2070245" y="1775051"/>
                  </a:lnTo>
                  <a:lnTo>
                    <a:pt x="2119275" y="1773249"/>
                  </a:lnTo>
                  <a:lnTo>
                    <a:pt x="2168334" y="1771271"/>
                  </a:lnTo>
                  <a:lnTo>
                    <a:pt x="2217422" y="1769117"/>
                  </a:lnTo>
                  <a:lnTo>
                    <a:pt x="2266539" y="1766788"/>
                  </a:lnTo>
                  <a:lnTo>
                    <a:pt x="2315683" y="1764286"/>
                  </a:lnTo>
                  <a:lnTo>
                    <a:pt x="2364855" y="1761612"/>
                  </a:lnTo>
                  <a:lnTo>
                    <a:pt x="2414054" y="1758766"/>
                  </a:lnTo>
                  <a:lnTo>
                    <a:pt x="2463280" y="1755751"/>
                  </a:lnTo>
                  <a:lnTo>
                    <a:pt x="2512531" y="1752567"/>
                  </a:lnTo>
                  <a:lnTo>
                    <a:pt x="2561809" y="1749215"/>
                  </a:lnTo>
                  <a:lnTo>
                    <a:pt x="2611111" y="1745697"/>
                  </a:lnTo>
                  <a:lnTo>
                    <a:pt x="2660438" y="1742013"/>
                  </a:lnTo>
                  <a:lnTo>
                    <a:pt x="2709790" y="1738166"/>
                  </a:lnTo>
                  <a:lnTo>
                    <a:pt x="2759165" y="1734155"/>
                  </a:lnTo>
                  <a:lnTo>
                    <a:pt x="2808563" y="1729983"/>
                  </a:lnTo>
                  <a:lnTo>
                    <a:pt x="2857985" y="1725650"/>
                  </a:lnTo>
                  <a:lnTo>
                    <a:pt x="2907429" y="1721158"/>
                  </a:lnTo>
                  <a:lnTo>
                    <a:pt x="2956895" y="1716508"/>
                  </a:lnTo>
                  <a:lnTo>
                    <a:pt x="3006382" y="1711700"/>
                  </a:lnTo>
                  <a:lnTo>
                    <a:pt x="3055890" y="1706737"/>
                  </a:lnTo>
                  <a:lnTo>
                    <a:pt x="3105419" y="1701619"/>
                  </a:lnTo>
                  <a:lnTo>
                    <a:pt x="3154968" y="1696347"/>
                  </a:lnTo>
                  <a:lnTo>
                    <a:pt x="3204537" y="1690923"/>
                  </a:lnTo>
                  <a:lnTo>
                    <a:pt x="3254125" y="1685348"/>
                  </a:lnTo>
                  <a:lnTo>
                    <a:pt x="3303732" y="1679622"/>
                  </a:lnTo>
                  <a:lnTo>
                    <a:pt x="3353357" y="1673748"/>
                  </a:lnTo>
                  <a:lnTo>
                    <a:pt x="3403000" y="1667726"/>
                  </a:lnTo>
                  <a:lnTo>
                    <a:pt x="3452660" y="1661558"/>
                  </a:lnTo>
                  <a:lnTo>
                    <a:pt x="3502338" y="1655244"/>
                  </a:lnTo>
                  <a:lnTo>
                    <a:pt x="3552031" y="1648786"/>
                  </a:lnTo>
                  <a:lnTo>
                    <a:pt x="3601741" y="1642185"/>
                  </a:lnTo>
                  <a:lnTo>
                    <a:pt x="3651466" y="1635442"/>
                  </a:lnTo>
                  <a:lnTo>
                    <a:pt x="3701207" y="1628558"/>
                  </a:lnTo>
                  <a:lnTo>
                    <a:pt x="3750962" y="1621535"/>
                  </a:lnTo>
                  <a:lnTo>
                    <a:pt x="3800731" y="1614374"/>
                  </a:lnTo>
                  <a:lnTo>
                    <a:pt x="3850514" y="1607075"/>
                  </a:lnTo>
                  <a:lnTo>
                    <a:pt x="3900310" y="1599641"/>
                  </a:lnTo>
                  <a:lnTo>
                    <a:pt x="3950119" y="1592071"/>
                  </a:lnTo>
                  <a:lnTo>
                    <a:pt x="3999940" y="1584368"/>
                  </a:lnTo>
                  <a:lnTo>
                    <a:pt x="4049774" y="1576532"/>
                  </a:lnTo>
                  <a:lnTo>
                    <a:pt x="4099618" y="1568565"/>
                  </a:lnTo>
                  <a:lnTo>
                    <a:pt x="4149474" y="1560468"/>
                  </a:lnTo>
                  <a:lnTo>
                    <a:pt x="4199340" y="1552242"/>
                  </a:lnTo>
                  <a:lnTo>
                    <a:pt x="4249216" y="1543888"/>
                  </a:lnTo>
                  <a:lnTo>
                    <a:pt x="4299102" y="1535408"/>
                  </a:lnTo>
                  <a:lnTo>
                    <a:pt x="4348997" y="1526802"/>
                  </a:lnTo>
                  <a:lnTo>
                    <a:pt x="4398900" y="1518071"/>
                  </a:lnTo>
                  <a:lnTo>
                    <a:pt x="4448812" y="1509218"/>
                  </a:lnTo>
                  <a:lnTo>
                    <a:pt x="4498731" y="1500242"/>
                  </a:lnTo>
                  <a:lnTo>
                    <a:pt x="4548658" y="1491146"/>
                  </a:lnTo>
                  <a:lnTo>
                    <a:pt x="4598592" y="1481930"/>
                  </a:lnTo>
                  <a:lnTo>
                    <a:pt x="4648532" y="1472595"/>
                  </a:lnTo>
                  <a:lnTo>
                    <a:pt x="4698478" y="1463144"/>
                  </a:lnTo>
                  <a:lnTo>
                    <a:pt x="4748429" y="1453576"/>
                  </a:lnTo>
                  <a:lnTo>
                    <a:pt x="4798386" y="1443893"/>
                  </a:lnTo>
                  <a:lnTo>
                    <a:pt x="4848347" y="1434097"/>
                  </a:lnTo>
                  <a:lnTo>
                    <a:pt x="4898312" y="1424187"/>
                  </a:lnTo>
                  <a:lnTo>
                    <a:pt x="4948280" y="1414167"/>
                  </a:lnTo>
                  <a:lnTo>
                    <a:pt x="4998252" y="1404036"/>
                  </a:lnTo>
                  <a:lnTo>
                    <a:pt x="5048227" y="1393796"/>
                  </a:lnTo>
                  <a:lnTo>
                    <a:pt x="5098204" y="1383448"/>
                  </a:lnTo>
                  <a:lnTo>
                    <a:pt x="5148182" y="1372993"/>
                  </a:lnTo>
                  <a:lnTo>
                    <a:pt x="5198162" y="1362433"/>
                  </a:lnTo>
                  <a:lnTo>
                    <a:pt x="5248143" y="1351768"/>
                  </a:lnTo>
                  <a:lnTo>
                    <a:pt x="5298124" y="1341000"/>
                  </a:lnTo>
                  <a:lnTo>
                    <a:pt x="5348106" y="1330130"/>
                  </a:lnTo>
                  <a:lnTo>
                    <a:pt x="5398086" y="1319159"/>
                  </a:lnTo>
                  <a:lnTo>
                    <a:pt x="5448066" y="1308089"/>
                  </a:lnTo>
                  <a:lnTo>
                    <a:pt x="5498044" y="1296919"/>
                  </a:lnTo>
                  <a:lnTo>
                    <a:pt x="5548021" y="1285652"/>
                  </a:lnTo>
                  <a:lnTo>
                    <a:pt x="5597995" y="1274290"/>
                  </a:lnTo>
                  <a:lnTo>
                    <a:pt x="5647966" y="1262832"/>
                  </a:lnTo>
                  <a:lnTo>
                    <a:pt x="5697935" y="1251280"/>
                  </a:lnTo>
                  <a:lnTo>
                    <a:pt x="5747899" y="1239635"/>
                  </a:lnTo>
                  <a:lnTo>
                    <a:pt x="5797859" y="1227899"/>
                  </a:lnTo>
                  <a:lnTo>
                    <a:pt x="5847815" y="1216072"/>
                  </a:lnTo>
                  <a:lnTo>
                    <a:pt x="5897765" y="1204156"/>
                  </a:lnTo>
                  <a:lnTo>
                    <a:pt x="5947711" y="1192152"/>
                  </a:lnTo>
                  <a:lnTo>
                    <a:pt x="5997650" y="1180062"/>
                  </a:lnTo>
                  <a:lnTo>
                    <a:pt x="6047582" y="1167885"/>
                  </a:lnTo>
                  <a:lnTo>
                    <a:pt x="6097508" y="1155624"/>
                  </a:lnTo>
                  <a:lnTo>
                    <a:pt x="6147426" y="1143280"/>
                  </a:lnTo>
                  <a:lnTo>
                    <a:pt x="6197336" y="1130853"/>
                  </a:lnTo>
                  <a:lnTo>
                    <a:pt x="6247239" y="1118346"/>
                  </a:lnTo>
                  <a:lnTo>
                    <a:pt x="6297132" y="1105758"/>
                  </a:lnTo>
                  <a:lnTo>
                    <a:pt x="6347016" y="1093092"/>
                  </a:lnTo>
                  <a:lnTo>
                    <a:pt x="6396891" y="1080348"/>
                  </a:lnTo>
                  <a:lnTo>
                    <a:pt x="6446755" y="1067528"/>
                  </a:lnTo>
                  <a:lnTo>
                    <a:pt x="6496609" y="1054633"/>
                  </a:lnTo>
                  <a:lnTo>
                    <a:pt x="6546452" y="1041664"/>
                  </a:lnTo>
                  <a:lnTo>
                    <a:pt x="6596283" y="1028622"/>
                  </a:lnTo>
                  <a:lnTo>
                    <a:pt x="6646102" y="1015508"/>
                  </a:lnTo>
                  <a:lnTo>
                    <a:pt x="6695909" y="1002324"/>
                  </a:lnTo>
                  <a:lnTo>
                    <a:pt x="6745703" y="989070"/>
                  </a:lnTo>
                  <a:lnTo>
                    <a:pt x="6795484" y="975748"/>
                  </a:lnTo>
                  <a:lnTo>
                    <a:pt x="6845251" y="962360"/>
                  </a:lnTo>
                  <a:lnTo>
                    <a:pt x="6895004" y="948905"/>
                  </a:lnTo>
                  <a:lnTo>
                    <a:pt x="6944742" y="935386"/>
                  </a:lnTo>
                  <a:lnTo>
                    <a:pt x="6994464" y="921803"/>
                  </a:lnTo>
                  <a:lnTo>
                    <a:pt x="7044171" y="908158"/>
                  </a:lnTo>
                  <a:lnTo>
                    <a:pt x="7093863" y="894452"/>
                  </a:lnTo>
                  <a:lnTo>
                    <a:pt x="7143537" y="880686"/>
                  </a:lnTo>
                  <a:lnTo>
                    <a:pt x="7193195" y="866861"/>
                  </a:lnTo>
                  <a:lnTo>
                    <a:pt x="7242835" y="852978"/>
                  </a:lnTo>
                  <a:lnTo>
                    <a:pt x="7292457" y="839039"/>
                  </a:lnTo>
                  <a:lnTo>
                    <a:pt x="7342061" y="825045"/>
                  </a:lnTo>
                  <a:lnTo>
                    <a:pt x="7391646" y="810996"/>
                  </a:lnTo>
                  <a:lnTo>
                    <a:pt x="7441211" y="796895"/>
                  </a:lnTo>
                  <a:lnTo>
                    <a:pt x="7490757" y="782742"/>
                  </a:lnTo>
                  <a:lnTo>
                    <a:pt x="7540283" y="768538"/>
                  </a:lnTo>
                  <a:lnTo>
                    <a:pt x="7589788" y="754284"/>
                  </a:lnTo>
                  <a:lnTo>
                    <a:pt x="7639272" y="739983"/>
                  </a:lnTo>
                  <a:lnTo>
                    <a:pt x="7688734" y="725634"/>
                  </a:lnTo>
                  <a:lnTo>
                    <a:pt x="7738174" y="711239"/>
                  </a:lnTo>
                  <a:lnTo>
                    <a:pt x="7787592" y="696800"/>
                  </a:lnTo>
                  <a:lnTo>
                    <a:pt x="7836987" y="682317"/>
                  </a:lnTo>
                  <a:lnTo>
                    <a:pt x="7886358" y="667792"/>
                  </a:lnTo>
                  <a:lnTo>
                    <a:pt x="7935706" y="653225"/>
                  </a:lnTo>
                  <a:lnTo>
                    <a:pt x="7985029" y="638618"/>
                  </a:lnTo>
                  <a:lnTo>
                    <a:pt x="8034327" y="623972"/>
                  </a:lnTo>
                  <a:lnTo>
                    <a:pt x="8083600" y="609289"/>
                  </a:lnTo>
                  <a:lnTo>
                    <a:pt x="8132848" y="594569"/>
                  </a:lnTo>
                  <a:lnTo>
                    <a:pt x="8182069" y="579813"/>
                  </a:lnTo>
                  <a:lnTo>
                    <a:pt x="8231263" y="565024"/>
                  </a:lnTo>
                  <a:lnTo>
                    <a:pt x="8280431" y="550201"/>
                  </a:lnTo>
                  <a:lnTo>
                    <a:pt x="8329571" y="535346"/>
                  </a:lnTo>
                  <a:lnTo>
                    <a:pt x="8378683" y="520461"/>
                  </a:lnTo>
                  <a:lnTo>
                    <a:pt x="8427766" y="505546"/>
                  </a:lnTo>
                  <a:lnTo>
                    <a:pt x="8476821" y="490603"/>
                  </a:lnTo>
                  <a:lnTo>
                    <a:pt x="8525846" y="475632"/>
                  </a:lnTo>
                  <a:lnTo>
                    <a:pt x="8574841" y="460635"/>
                  </a:lnTo>
                  <a:lnTo>
                    <a:pt x="8623806" y="445614"/>
                  </a:lnTo>
                  <a:lnTo>
                    <a:pt x="8672741" y="430569"/>
                  </a:lnTo>
                  <a:lnTo>
                    <a:pt x="8731141" y="412776"/>
                  </a:lnTo>
                  <a:lnTo>
                    <a:pt x="8789473" y="395387"/>
                  </a:lnTo>
                  <a:lnTo>
                    <a:pt x="8847732" y="378399"/>
                  </a:lnTo>
                  <a:lnTo>
                    <a:pt x="8905911" y="361811"/>
                  </a:lnTo>
                  <a:lnTo>
                    <a:pt x="8964005" y="345621"/>
                  </a:lnTo>
                  <a:lnTo>
                    <a:pt x="9022009" y="329826"/>
                  </a:lnTo>
                  <a:lnTo>
                    <a:pt x="9079917" y="314426"/>
                  </a:lnTo>
                  <a:lnTo>
                    <a:pt x="9137723" y="299418"/>
                  </a:lnTo>
                  <a:lnTo>
                    <a:pt x="9195422" y="284801"/>
                  </a:lnTo>
                  <a:lnTo>
                    <a:pt x="9253009" y="270573"/>
                  </a:lnTo>
                  <a:lnTo>
                    <a:pt x="9310478" y="256732"/>
                  </a:lnTo>
                  <a:lnTo>
                    <a:pt x="9367823" y="243276"/>
                  </a:lnTo>
                  <a:lnTo>
                    <a:pt x="9425039" y="230204"/>
                  </a:lnTo>
                  <a:lnTo>
                    <a:pt x="9482120" y="217514"/>
                  </a:lnTo>
                  <a:lnTo>
                    <a:pt x="9539061" y="205204"/>
                  </a:lnTo>
                  <a:lnTo>
                    <a:pt x="9595857" y="193272"/>
                  </a:lnTo>
                  <a:lnTo>
                    <a:pt x="9652501" y="181716"/>
                  </a:lnTo>
                  <a:lnTo>
                    <a:pt x="9708989" y="170535"/>
                  </a:lnTo>
                  <a:lnTo>
                    <a:pt x="9765314" y="159728"/>
                  </a:lnTo>
                  <a:lnTo>
                    <a:pt x="9821471" y="149291"/>
                  </a:lnTo>
                  <a:lnTo>
                    <a:pt x="9877455" y="139224"/>
                  </a:lnTo>
                  <a:lnTo>
                    <a:pt x="9933260" y="129524"/>
                  </a:lnTo>
                  <a:lnTo>
                    <a:pt x="9988881" y="120191"/>
                  </a:lnTo>
                  <a:lnTo>
                    <a:pt x="10044312" y="111221"/>
                  </a:lnTo>
                  <a:lnTo>
                    <a:pt x="10099547" y="102614"/>
                  </a:lnTo>
                  <a:lnTo>
                    <a:pt x="10154581" y="94367"/>
                  </a:lnTo>
                  <a:lnTo>
                    <a:pt x="10209409" y="86479"/>
                  </a:lnTo>
                  <a:lnTo>
                    <a:pt x="10264024" y="78948"/>
                  </a:lnTo>
                  <a:lnTo>
                    <a:pt x="10318422" y="71772"/>
                  </a:lnTo>
                  <a:lnTo>
                    <a:pt x="10372597" y="64950"/>
                  </a:lnTo>
                  <a:lnTo>
                    <a:pt x="10426544" y="58479"/>
                  </a:lnTo>
                  <a:lnTo>
                    <a:pt x="10480256" y="52359"/>
                  </a:lnTo>
                  <a:lnTo>
                    <a:pt x="10533728" y="46586"/>
                  </a:lnTo>
                  <a:lnTo>
                    <a:pt x="10586955" y="41160"/>
                  </a:lnTo>
                  <a:lnTo>
                    <a:pt x="10639932" y="36078"/>
                  </a:lnTo>
                  <a:lnTo>
                    <a:pt x="10692652" y="31340"/>
                  </a:lnTo>
                  <a:lnTo>
                    <a:pt x="10745110" y="26942"/>
                  </a:lnTo>
                  <a:lnTo>
                    <a:pt x="10797301" y="22883"/>
                  </a:lnTo>
                  <a:lnTo>
                    <a:pt x="10849219" y="19162"/>
                  </a:lnTo>
                  <a:lnTo>
                    <a:pt x="10900859" y="15777"/>
                  </a:lnTo>
                  <a:lnTo>
                    <a:pt x="10952214" y="12726"/>
                  </a:lnTo>
                  <a:lnTo>
                    <a:pt x="11003281" y="10007"/>
                  </a:lnTo>
                  <a:lnTo>
                    <a:pt x="11054052" y="7618"/>
                  </a:lnTo>
                  <a:lnTo>
                    <a:pt x="11104522" y="5558"/>
                  </a:lnTo>
                  <a:lnTo>
                    <a:pt x="11154687" y="3825"/>
                  </a:lnTo>
                  <a:lnTo>
                    <a:pt x="11204540" y="2417"/>
                  </a:lnTo>
                  <a:lnTo>
                    <a:pt x="11254076" y="1332"/>
                  </a:lnTo>
                  <a:lnTo>
                    <a:pt x="11303289" y="569"/>
                  </a:lnTo>
                  <a:lnTo>
                    <a:pt x="11352174" y="125"/>
                  </a:lnTo>
                  <a:lnTo>
                    <a:pt x="11400726" y="0"/>
                  </a:lnTo>
                  <a:lnTo>
                    <a:pt x="11448938" y="190"/>
                  </a:lnTo>
                  <a:lnTo>
                    <a:pt x="11496805" y="695"/>
                  </a:lnTo>
                  <a:lnTo>
                    <a:pt x="11544322" y="1513"/>
                  </a:lnTo>
                  <a:lnTo>
                    <a:pt x="11591483" y="2642"/>
                  </a:lnTo>
                  <a:lnTo>
                    <a:pt x="11638283" y="4080"/>
                  </a:lnTo>
                  <a:lnTo>
                    <a:pt x="11684716" y="5825"/>
                  </a:lnTo>
                  <a:lnTo>
                    <a:pt x="11730777" y="7876"/>
                  </a:lnTo>
                  <a:lnTo>
                    <a:pt x="11776460" y="10231"/>
                  </a:lnTo>
                  <a:lnTo>
                    <a:pt x="11821759" y="12887"/>
                  </a:lnTo>
                  <a:lnTo>
                    <a:pt x="11866669" y="15844"/>
                  </a:lnTo>
                  <a:lnTo>
                    <a:pt x="11911185" y="19100"/>
                  </a:lnTo>
                  <a:lnTo>
                    <a:pt x="11955300" y="22652"/>
                  </a:lnTo>
                  <a:lnTo>
                    <a:pt x="11999010" y="26499"/>
                  </a:lnTo>
                  <a:lnTo>
                    <a:pt x="12042309" y="30639"/>
                  </a:lnTo>
                  <a:lnTo>
                    <a:pt x="12085191" y="35071"/>
                  </a:lnTo>
                  <a:lnTo>
                    <a:pt x="12127651" y="39792"/>
                  </a:lnTo>
                  <a:lnTo>
                    <a:pt x="12169684" y="44801"/>
                  </a:lnTo>
                  <a:lnTo>
                    <a:pt x="12192000" y="47642"/>
                  </a:lnTo>
                </a:path>
              </a:pathLst>
            </a:custGeom>
            <a:ln w="25400">
              <a:solidFill>
                <a:srgbClr val="DA1E4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9"/>
            <p:cNvSpPr/>
            <p:nvPr userDrawn="1"/>
          </p:nvSpPr>
          <p:spPr>
            <a:xfrm>
              <a:off x="0" y="5047558"/>
              <a:ext cx="12192000" cy="1029969"/>
            </a:xfrm>
            <a:custGeom>
              <a:avLst/>
              <a:gdLst/>
              <a:ahLst/>
              <a:cxnLst/>
              <a:rect l="l" t="t" r="r" b="b"/>
              <a:pathLst>
                <a:path w="12192000" h="1029970">
                  <a:moveTo>
                    <a:pt x="12192000" y="68478"/>
                  </a:moveTo>
                  <a:lnTo>
                    <a:pt x="12140152" y="60680"/>
                  </a:lnTo>
                  <a:lnTo>
                    <a:pt x="12100389" y="55127"/>
                  </a:lnTo>
                  <a:lnTo>
                    <a:pt x="12060079" y="49836"/>
                  </a:lnTo>
                  <a:lnTo>
                    <a:pt x="12019228" y="44806"/>
                  </a:lnTo>
                  <a:lnTo>
                    <a:pt x="11977843" y="40039"/>
                  </a:lnTo>
                  <a:lnTo>
                    <a:pt x="11935931" y="35535"/>
                  </a:lnTo>
                  <a:lnTo>
                    <a:pt x="11893498" y="31296"/>
                  </a:lnTo>
                  <a:lnTo>
                    <a:pt x="11850553" y="27322"/>
                  </a:lnTo>
                  <a:lnTo>
                    <a:pt x="11807101" y="23614"/>
                  </a:lnTo>
                  <a:lnTo>
                    <a:pt x="11763149" y="20173"/>
                  </a:lnTo>
                  <a:lnTo>
                    <a:pt x="11718704" y="16999"/>
                  </a:lnTo>
                  <a:lnTo>
                    <a:pt x="11673773" y="14094"/>
                  </a:lnTo>
                  <a:lnTo>
                    <a:pt x="11628363" y="11458"/>
                  </a:lnTo>
                  <a:lnTo>
                    <a:pt x="11582481" y="9093"/>
                  </a:lnTo>
                  <a:lnTo>
                    <a:pt x="11536134" y="6999"/>
                  </a:lnTo>
                  <a:lnTo>
                    <a:pt x="11489327" y="5176"/>
                  </a:lnTo>
                  <a:lnTo>
                    <a:pt x="11442069" y="3627"/>
                  </a:lnTo>
                  <a:lnTo>
                    <a:pt x="11394366" y="2351"/>
                  </a:lnTo>
                  <a:lnTo>
                    <a:pt x="11346225" y="1349"/>
                  </a:lnTo>
                  <a:lnTo>
                    <a:pt x="11297653" y="623"/>
                  </a:lnTo>
                  <a:lnTo>
                    <a:pt x="11248656" y="173"/>
                  </a:lnTo>
                  <a:lnTo>
                    <a:pt x="11199242" y="0"/>
                  </a:lnTo>
                  <a:lnTo>
                    <a:pt x="11149417" y="104"/>
                  </a:lnTo>
                  <a:lnTo>
                    <a:pt x="11099188" y="488"/>
                  </a:lnTo>
                  <a:lnTo>
                    <a:pt x="11048563" y="1150"/>
                  </a:lnTo>
                  <a:lnTo>
                    <a:pt x="10997547" y="2094"/>
                  </a:lnTo>
                  <a:lnTo>
                    <a:pt x="10946148" y="3318"/>
                  </a:lnTo>
                  <a:lnTo>
                    <a:pt x="10894372" y="4825"/>
                  </a:lnTo>
                  <a:lnTo>
                    <a:pt x="10842227" y="6614"/>
                  </a:lnTo>
                  <a:lnTo>
                    <a:pt x="10789719" y="8687"/>
                  </a:lnTo>
                  <a:lnTo>
                    <a:pt x="10736855" y="11045"/>
                  </a:lnTo>
                  <a:lnTo>
                    <a:pt x="10683641" y="13688"/>
                  </a:lnTo>
                  <a:lnTo>
                    <a:pt x="10630086" y="16617"/>
                  </a:lnTo>
                  <a:lnTo>
                    <a:pt x="10576195" y="19834"/>
                  </a:lnTo>
                  <a:lnTo>
                    <a:pt x="10521976" y="23338"/>
                  </a:lnTo>
                  <a:lnTo>
                    <a:pt x="10467435" y="27131"/>
                  </a:lnTo>
                  <a:lnTo>
                    <a:pt x="10412579" y="31214"/>
                  </a:lnTo>
                  <a:lnTo>
                    <a:pt x="10357416" y="35588"/>
                  </a:lnTo>
                  <a:lnTo>
                    <a:pt x="10301951" y="40253"/>
                  </a:lnTo>
                  <a:lnTo>
                    <a:pt x="10246191" y="45209"/>
                  </a:lnTo>
                  <a:lnTo>
                    <a:pt x="10190145" y="50459"/>
                  </a:lnTo>
                  <a:lnTo>
                    <a:pt x="10133817" y="56003"/>
                  </a:lnTo>
                  <a:lnTo>
                    <a:pt x="10077216" y="61842"/>
                  </a:lnTo>
                  <a:lnTo>
                    <a:pt x="10020348" y="67976"/>
                  </a:lnTo>
                  <a:lnTo>
                    <a:pt x="9963220" y="74406"/>
                  </a:lnTo>
                  <a:lnTo>
                    <a:pt x="9905838" y="81134"/>
                  </a:lnTo>
                  <a:lnTo>
                    <a:pt x="9848211" y="88160"/>
                  </a:lnTo>
                  <a:lnTo>
                    <a:pt x="9790343" y="95485"/>
                  </a:lnTo>
                  <a:lnTo>
                    <a:pt x="9732243" y="103109"/>
                  </a:lnTo>
                  <a:lnTo>
                    <a:pt x="9673917" y="111034"/>
                  </a:lnTo>
                  <a:lnTo>
                    <a:pt x="9615372" y="119261"/>
                  </a:lnTo>
                  <a:lnTo>
                    <a:pt x="9556615" y="127790"/>
                  </a:lnTo>
                  <a:lnTo>
                    <a:pt x="9497653" y="136622"/>
                  </a:lnTo>
                  <a:lnTo>
                    <a:pt x="9438492" y="145758"/>
                  </a:lnTo>
                  <a:lnTo>
                    <a:pt x="9379139" y="155199"/>
                  </a:lnTo>
                  <a:lnTo>
                    <a:pt x="9319602" y="164946"/>
                  </a:lnTo>
                  <a:lnTo>
                    <a:pt x="9259887" y="174999"/>
                  </a:lnTo>
                  <a:lnTo>
                    <a:pt x="9200000" y="185359"/>
                  </a:lnTo>
                  <a:lnTo>
                    <a:pt x="9139950" y="196028"/>
                  </a:lnTo>
                  <a:lnTo>
                    <a:pt x="9079742" y="207006"/>
                  </a:lnTo>
                  <a:lnTo>
                    <a:pt x="9019383" y="218294"/>
                  </a:lnTo>
                  <a:lnTo>
                    <a:pt x="8958881" y="229892"/>
                  </a:lnTo>
                  <a:lnTo>
                    <a:pt x="8898242" y="241802"/>
                  </a:lnTo>
                  <a:lnTo>
                    <a:pt x="8837473" y="254025"/>
                  </a:lnTo>
                  <a:lnTo>
                    <a:pt x="8776581" y="266561"/>
                  </a:lnTo>
                  <a:lnTo>
                    <a:pt x="8730075" y="276234"/>
                  </a:lnTo>
                  <a:lnTo>
                    <a:pt x="8683456" y="285898"/>
                  </a:lnTo>
                  <a:lnTo>
                    <a:pt x="8636725" y="295551"/>
                  </a:lnTo>
                  <a:lnTo>
                    <a:pt x="8589883" y="305193"/>
                  </a:lnTo>
                  <a:lnTo>
                    <a:pt x="8542932" y="314822"/>
                  </a:lnTo>
                  <a:lnTo>
                    <a:pt x="8495874" y="324437"/>
                  </a:lnTo>
                  <a:lnTo>
                    <a:pt x="8448708" y="334036"/>
                  </a:lnTo>
                  <a:lnTo>
                    <a:pt x="8401438" y="343619"/>
                  </a:lnTo>
                  <a:lnTo>
                    <a:pt x="8354063" y="353184"/>
                  </a:lnTo>
                  <a:lnTo>
                    <a:pt x="8306585" y="362731"/>
                  </a:lnTo>
                  <a:lnTo>
                    <a:pt x="8259006" y="372257"/>
                  </a:lnTo>
                  <a:lnTo>
                    <a:pt x="8211326" y="381763"/>
                  </a:lnTo>
                  <a:lnTo>
                    <a:pt x="8163548" y="391246"/>
                  </a:lnTo>
                  <a:lnTo>
                    <a:pt x="8115671" y="400706"/>
                  </a:lnTo>
                  <a:lnTo>
                    <a:pt x="8067699" y="410141"/>
                  </a:lnTo>
                  <a:lnTo>
                    <a:pt x="8019631" y="419550"/>
                  </a:lnTo>
                  <a:lnTo>
                    <a:pt x="7971470" y="428932"/>
                  </a:lnTo>
                  <a:lnTo>
                    <a:pt x="7923216" y="438285"/>
                  </a:lnTo>
                  <a:lnTo>
                    <a:pt x="7874870" y="447610"/>
                  </a:lnTo>
                  <a:lnTo>
                    <a:pt x="7826435" y="456904"/>
                  </a:lnTo>
                  <a:lnTo>
                    <a:pt x="7777911" y="466166"/>
                  </a:lnTo>
                  <a:lnTo>
                    <a:pt x="7729300" y="475395"/>
                  </a:lnTo>
                  <a:lnTo>
                    <a:pt x="7680602" y="484590"/>
                  </a:lnTo>
                  <a:lnTo>
                    <a:pt x="7631820" y="493750"/>
                  </a:lnTo>
                  <a:lnTo>
                    <a:pt x="7582954" y="502873"/>
                  </a:lnTo>
                  <a:lnTo>
                    <a:pt x="7534006" y="511958"/>
                  </a:lnTo>
                  <a:lnTo>
                    <a:pt x="7484977" y="521005"/>
                  </a:lnTo>
                  <a:lnTo>
                    <a:pt x="7435868" y="530012"/>
                  </a:lnTo>
                  <a:lnTo>
                    <a:pt x="7386681" y="538978"/>
                  </a:lnTo>
                  <a:lnTo>
                    <a:pt x="7337417" y="547901"/>
                  </a:lnTo>
                  <a:lnTo>
                    <a:pt x="7288077" y="556781"/>
                  </a:lnTo>
                  <a:lnTo>
                    <a:pt x="7238662" y="565616"/>
                  </a:lnTo>
                  <a:lnTo>
                    <a:pt x="7189175" y="574405"/>
                  </a:lnTo>
                  <a:lnTo>
                    <a:pt x="7139615" y="583147"/>
                  </a:lnTo>
                  <a:lnTo>
                    <a:pt x="7089984" y="591840"/>
                  </a:lnTo>
                  <a:lnTo>
                    <a:pt x="7040285" y="600485"/>
                  </a:lnTo>
                  <a:lnTo>
                    <a:pt x="6990517" y="609078"/>
                  </a:lnTo>
                  <a:lnTo>
                    <a:pt x="6940682" y="617620"/>
                  </a:lnTo>
                  <a:lnTo>
                    <a:pt x="6890782" y="626109"/>
                  </a:lnTo>
                  <a:lnTo>
                    <a:pt x="6840817" y="634544"/>
                  </a:lnTo>
                  <a:lnTo>
                    <a:pt x="6790790" y="642924"/>
                  </a:lnTo>
                  <a:lnTo>
                    <a:pt x="6740701" y="651247"/>
                  </a:lnTo>
                  <a:lnTo>
                    <a:pt x="6690551" y="659512"/>
                  </a:lnTo>
                  <a:lnTo>
                    <a:pt x="6640343" y="667719"/>
                  </a:lnTo>
                  <a:lnTo>
                    <a:pt x="6590076" y="675865"/>
                  </a:lnTo>
                  <a:lnTo>
                    <a:pt x="6539753" y="683950"/>
                  </a:lnTo>
                  <a:lnTo>
                    <a:pt x="6489375" y="691973"/>
                  </a:lnTo>
                  <a:lnTo>
                    <a:pt x="6438943" y="699932"/>
                  </a:lnTo>
                  <a:lnTo>
                    <a:pt x="6388458" y="707827"/>
                  </a:lnTo>
                  <a:lnTo>
                    <a:pt x="6337922" y="715655"/>
                  </a:lnTo>
                  <a:lnTo>
                    <a:pt x="6287336" y="723417"/>
                  </a:lnTo>
                  <a:lnTo>
                    <a:pt x="6236701" y="731110"/>
                  </a:lnTo>
                  <a:lnTo>
                    <a:pt x="6186019" y="738734"/>
                  </a:lnTo>
                  <a:lnTo>
                    <a:pt x="6135290" y="746287"/>
                  </a:lnTo>
                  <a:lnTo>
                    <a:pt x="6084516" y="753768"/>
                  </a:lnTo>
                  <a:lnTo>
                    <a:pt x="6033699" y="761177"/>
                  </a:lnTo>
                  <a:lnTo>
                    <a:pt x="5982839" y="768511"/>
                  </a:lnTo>
                  <a:lnTo>
                    <a:pt x="5931938" y="775769"/>
                  </a:lnTo>
                  <a:lnTo>
                    <a:pt x="5880998" y="782952"/>
                  </a:lnTo>
                  <a:lnTo>
                    <a:pt x="5830019" y="790056"/>
                  </a:lnTo>
                  <a:lnTo>
                    <a:pt x="5779002" y="797082"/>
                  </a:lnTo>
                  <a:lnTo>
                    <a:pt x="5727950" y="804027"/>
                  </a:lnTo>
                  <a:lnTo>
                    <a:pt x="5676863" y="810892"/>
                  </a:lnTo>
                  <a:lnTo>
                    <a:pt x="5625743" y="817674"/>
                  </a:lnTo>
                  <a:lnTo>
                    <a:pt x="5574591" y="824372"/>
                  </a:lnTo>
                  <a:lnTo>
                    <a:pt x="5523407" y="830986"/>
                  </a:lnTo>
                  <a:lnTo>
                    <a:pt x="5472195" y="837513"/>
                  </a:lnTo>
                  <a:lnTo>
                    <a:pt x="5420954" y="843954"/>
                  </a:lnTo>
                  <a:lnTo>
                    <a:pt x="5369686" y="850306"/>
                  </a:lnTo>
                  <a:lnTo>
                    <a:pt x="5318393" y="856568"/>
                  </a:lnTo>
                  <a:lnTo>
                    <a:pt x="5267075" y="862740"/>
                  </a:lnTo>
                  <a:lnTo>
                    <a:pt x="5215734" y="868820"/>
                  </a:lnTo>
                  <a:lnTo>
                    <a:pt x="5164371" y="874807"/>
                  </a:lnTo>
                  <a:lnTo>
                    <a:pt x="5112988" y="880700"/>
                  </a:lnTo>
                  <a:lnTo>
                    <a:pt x="5061586" y="886498"/>
                  </a:lnTo>
                  <a:lnTo>
                    <a:pt x="5010165" y="892199"/>
                  </a:lnTo>
                  <a:lnTo>
                    <a:pt x="4958728" y="897802"/>
                  </a:lnTo>
                  <a:lnTo>
                    <a:pt x="4907276" y="903306"/>
                  </a:lnTo>
                  <a:lnTo>
                    <a:pt x="4855810" y="908710"/>
                  </a:lnTo>
                  <a:lnTo>
                    <a:pt x="4804331" y="914013"/>
                  </a:lnTo>
                  <a:lnTo>
                    <a:pt x="4752840" y="919214"/>
                  </a:lnTo>
                  <a:lnTo>
                    <a:pt x="4701339" y="924311"/>
                  </a:lnTo>
                  <a:lnTo>
                    <a:pt x="4649829" y="929303"/>
                  </a:lnTo>
                  <a:lnTo>
                    <a:pt x="4598312" y="934189"/>
                  </a:lnTo>
                  <a:lnTo>
                    <a:pt x="4546788" y="938968"/>
                  </a:lnTo>
                  <a:lnTo>
                    <a:pt x="4495259" y="943638"/>
                  </a:lnTo>
                  <a:lnTo>
                    <a:pt x="4443726" y="948199"/>
                  </a:lnTo>
                  <a:lnTo>
                    <a:pt x="4392191" y="952649"/>
                  </a:lnTo>
                  <a:lnTo>
                    <a:pt x="4340655" y="956988"/>
                  </a:lnTo>
                  <a:lnTo>
                    <a:pt x="4289119" y="961213"/>
                  </a:lnTo>
                  <a:lnTo>
                    <a:pt x="4237584" y="965324"/>
                  </a:lnTo>
                  <a:lnTo>
                    <a:pt x="4186052" y="969320"/>
                  </a:lnTo>
                  <a:lnTo>
                    <a:pt x="4134523" y="973199"/>
                  </a:lnTo>
                  <a:lnTo>
                    <a:pt x="4083000" y="976961"/>
                  </a:lnTo>
                  <a:lnTo>
                    <a:pt x="4031484" y="980603"/>
                  </a:lnTo>
                  <a:lnTo>
                    <a:pt x="3979975" y="984125"/>
                  </a:lnTo>
                  <a:lnTo>
                    <a:pt x="3928475" y="987526"/>
                  </a:lnTo>
                  <a:lnTo>
                    <a:pt x="3876986" y="990805"/>
                  </a:lnTo>
                  <a:lnTo>
                    <a:pt x="3825508" y="993960"/>
                  </a:lnTo>
                  <a:lnTo>
                    <a:pt x="3774044" y="996990"/>
                  </a:lnTo>
                  <a:lnTo>
                    <a:pt x="3722593" y="999894"/>
                  </a:lnTo>
                  <a:lnTo>
                    <a:pt x="3671158" y="1002670"/>
                  </a:lnTo>
                  <a:lnTo>
                    <a:pt x="3619740" y="1005319"/>
                  </a:lnTo>
                  <a:lnTo>
                    <a:pt x="3568340" y="1007838"/>
                  </a:lnTo>
                  <a:lnTo>
                    <a:pt x="3516960" y="1010226"/>
                  </a:lnTo>
                  <a:lnTo>
                    <a:pt x="3465600" y="1012482"/>
                  </a:lnTo>
                  <a:lnTo>
                    <a:pt x="3414262" y="1014605"/>
                  </a:lnTo>
                  <a:lnTo>
                    <a:pt x="3362947" y="1016594"/>
                  </a:lnTo>
                  <a:lnTo>
                    <a:pt x="3311656" y="1018447"/>
                  </a:lnTo>
                  <a:lnTo>
                    <a:pt x="3260392" y="1020164"/>
                  </a:lnTo>
                  <a:lnTo>
                    <a:pt x="3209155" y="1021743"/>
                  </a:lnTo>
                  <a:lnTo>
                    <a:pt x="3157946" y="1023183"/>
                  </a:lnTo>
                  <a:lnTo>
                    <a:pt x="3106766" y="1024483"/>
                  </a:lnTo>
                  <a:lnTo>
                    <a:pt x="3055618" y="1025642"/>
                  </a:lnTo>
                  <a:lnTo>
                    <a:pt x="3004502" y="1026658"/>
                  </a:lnTo>
                  <a:lnTo>
                    <a:pt x="2953419" y="1027530"/>
                  </a:lnTo>
                  <a:lnTo>
                    <a:pt x="2902371" y="1028257"/>
                  </a:lnTo>
                  <a:lnTo>
                    <a:pt x="2851360" y="1028839"/>
                  </a:lnTo>
                  <a:lnTo>
                    <a:pt x="2800385" y="1029273"/>
                  </a:lnTo>
                  <a:lnTo>
                    <a:pt x="2749450" y="1029559"/>
                  </a:lnTo>
                  <a:lnTo>
                    <a:pt x="2698554" y="1029695"/>
                  </a:lnTo>
                  <a:lnTo>
                    <a:pt x="2647700" y="1029680"/>
                  </a:lnTo>
                  <a:lnTo>
                    <a:pt x="2596888" y="1029514"/>
                  </a:lnTo>
                  <a:lnTo>
                    <a:pt x="2546120" y="1029194"/>
                  </a:lnTo>
                  <a:lnTo>
                    <a:pt x="2495397" y="1028720"/>
                  </a:lnTo>
                  <a:lnTo>
                    <a:pt x="2444720" y="1028091"/>
                  </a:lnTo>
                  <a:lnTo>
                    <a:pt x="2394091" y="1027305"/>
                  </a:lnTo>
                  <a:lnTo>
                    <a:pt x="2343511" y="1026361"/>
                  </a:lnTo>
                  <a:lnTo>
                    <a:pt x="2292981" y="1025258"/>
                  </a:lnTo>
                  <a:lnTo>
                    <a:pt x="2242503" y="1023995"/>
                  </a:lnTo>
                  <a:lnTo>
                    <a:pt x="2192078" y="1022570"/>
                  </a:lnTo>
                  <a:lnTo>
                    <a:pt x="2141707" y="1020983"/>
                  </a:lnTo>
                  <a:lnTo>
                    <a:pt x="2091391" y="1019233"/>
                  </a:lnTo>
                  <a:lnTo>
                    <a:pt x="2041132" y="1017317"/>
                  </a:lnTo>
                  <a:lnTo>
                    <a:pt x="1990931" y="1015235"/>
                  </a:lnTo>
                  <a:lnTo>
                    <a:pt x="1940789" y="1012986"/>
                  </a:lnTo>
                  <a:lnTo>
                    <a:pt x="1890707" y="1010569"/>
                  </a:lnTo>
                  <a:lnTo>
                    <a:pt x="1840688" y="1007982"/>
                  </a:lnTo>
                  <a:lnTo>
                    <a:pt x="1790731" y="1005224"/>
                  </a:lnTo>
                  <a:lnTo>
                    <a:pt x="1740839" y="1002295"/>
                  </a:lnTo>
                  <a:lnTo>
                    <a:pt x="1691013" y="999192"/>
                  </a:lnTo>
                  <a:lnTo>
                    <a:pt x="1641254" y="995914"/>
                  </a:lnTo>
                  <a:lnTo>
                    <a:pt x="1591562" y="992462"/>
                  </a:lnTo>
                  <a:lnTo>
                    <a:pt x="1541941" y="988832"/>
                  </a:lnTo>
                  <a:lnTo>
                    <a:pt x="1492390" y="985025"/>
                  </a:lnTo>
                  <a:lnTo>
                    <a:pt x="1442911" y="981039"/>
                  </a:lnTo>
                  <a:lnTo>
                    <a:pt x="1393506" y="976872"/>
                  </a:lnTo>
                  <a:lnTo>
                    <a:pt x="1344176" y="972524"/>
                  </a:lnTo>
                  <a:lnTo>
                    <a:pt x="1294921" y="967993"/>
                  </a:lnTo>
                  <a:lnTo>
                    <a:pt x="1245744" y="963279"/>
                  </a:lnTo>
                  <a:lnTo>
                    <a:pt x="1196645" y="958380"/>
                  </a:lnTo>
                  <a:lnTo>
                    <a:pt x="1147626" y="953295"/>
                  </a:lnTo>
                  <a:lnTo>
                    <a:pt x="1098689" y="948022"/>
                  </a:lnTo>
                  <a:lnTo>
                    <a:pt x="1049833" y="942561"/>
                  </a:lnTo>
                  <a:lnTo>
                    <a:pt x="1001062" y="936910"/>
                  </a:lnTo>
                  <a:lnTo>
                    <a:pt x="952375" y="931069"/>
                  </a:lnTo>
                  <a:lnTo>
                    <a:pt x="903774" y="925035"/>
                  </a:lnTo>
                  <a:lnTo>
                    <a:pt x="855262" y="918808"/>
                  </a:lnTo>
                  <a:lnTo>
                    <a:pt x="806838" y="912387"/>
                  </a:lnTo>
                  <a:lnTo>
                    <a:pt x="758504" y="905771"/>
                  </a:lnTo>
                  <a:lnTo>
                    <a:pt x="710261" y="898957"/>
                  </a:lnTo>
                  <a:lnTo>
                    <a:pt x="662111" y="891946"/>
                  </a:lnTo>
                  <a:lnTo>
                    <a:pt x="614056" y="884736"/>
                  </a:lnTo>
                  <a:lnTo>
                    <a:pt x="566095" y="877325"/>
                  </a:lnTo>
                  <a:lnTo>
                    <a:pt x="518231" y="869713"/>
                  </a:lnTo>
                  <a:lnTo>
                    <a:pt x="470465" y="861899"/>
                  </a:lnTo>
                  <a:lnTo>
                    <a:pt x="422798" y="853880"/>
                  </a:lnTo>
                  <a:lnTo>
                    <a:pt x="375232" y="845657"/>
                  </a:lnTo>
                  <a:lnTo>
                    <a:pt x="327767" y="837228"/>
                  </a:lnTo>
                  <a:lnTo>
                    <a:pt x="280405" y="828591"/>
                  </a:lnTo>
                  <a:lnTo>
                    <a:pt x="233147" y="819746"/>
                  </a:lnTo>
                  <a:lnTo>
                    <a:pt x="185995" y="810691"/>
                  </a:lnTo>
                  <a:lnTo>
                    <a:pt x="138950" y="801425"/>
                  </a:lnTo>
                  <a:lnTo>
                    <a:pt x="92013" y="791947"/>
                  </a:lnTo>
                  <a:lnTo>
                    <a:pt x="45186" y="782256"/>
                  </a:lnTo>
                  <a:lnTo>
                    <a:pt x="0" y="772675"/>
                  </a:lnTo>
                </a:path>
              </a:pathLst>
            </a:custGeom>
            <a:ln w="25400">
              <a:solidFill>
                <a:srgbClr val="93959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68450" y="4321628"/>
            <a:ext cx="5626100" cy="106362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1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453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E6803-AB75-2947-A674-A4A46140F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75DC5C-15A3-204F-B809-3A07540F6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368AD-AC3A-8448-81E7-9702A1829A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58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95313" y="2792951"/>
            <a:ext cx="9809213" cy="632636"/>
          </a:xfrm>
        </p:spPr>
        <p:txBody>
          <a:bodyPr bIns="0" anchor="b" anchorCtr="0">
            <a:noAutofit/>
          </a:bodyPr>
          <a:lstStyle>
            <a:lvl1pPr algn="l">
              <a:lnSpc>
                <a:spcPct val="83000"/>
              </a:lnSpc>
              <a:defRPr kumimoji="0" lang="en-US" sz="4800" b="0" i="0" u="none" strike="noStrike" kern="0" cap="all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object 3"/>
          <p:cNvSpPr/>
          <p:nvPr userDrawn="1"/>
        </p:nvSpPr>
        <p:spPr>
          <a:xfrm>
            <a:off x="0" y="273978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3388927"/>
            <a:ext cx="9802812" cy="485775"/>
          </a:xfrm>
        </p:spPr>
        <p:txBody>
          <a:bodyPr/>
          <a:lstStyle>
            <a:lvl1pPr>
              <a:defRPr sz="2000" b="0" cap="all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40" y="5926347"/>
            <a:ext cx="1278753" cy="349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6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Google Shape;38;p4"/>
          <p:cNvSpPr txBox="1">
            <a:spLocks noGrp="1"/>
          </p:cNvSpPr>
          <p:nvPr>
            <p:ph type="body" idx="1"/>
          </p:nvPr>
        </p:nvSpPr>
        <p:spPr>
          <a:xfrm>
            <a:off x="358780" y="1371611"/>
            <a:ext cx="11604623" cy="4805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42900" marR="0" lvl="0" indent="-171450" algn="l">
              <a:lnSpc>
                <a:spcPct val="110000"/>
              </a:lnSpc>
              <a:spcBef>
                <a:spcPts val="747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592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17145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ts val="1400"/>
              <a:buFont typeface="Arial"/>
              <a:buNone/>
              <a:defRPr sz="1394" b="0" i="0" u="none" strike="noStrike" cap="none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171450" algn="l">
              <a:lnSpc>
                <a:spcPct val="120000"/>
              </a:lnSpc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38125" algn="l">
              <a:lnSpc>
                <a:spcPct val="120000"/>
              </a:lnSpc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39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38125" algn="l">
              <a:lnSpc>
                <a:spcPct val="120000"/>
              </a:lnSpc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Helvetica Neue"/>
              <a:buChar char="‒"/>
              <a:defRPr sz="1394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35744" algn="l">
              <a:lnSpc>
                <a:spcPct val="90000"/>
              </a:lnSpc>
              <a:spcBef>
                <a:spcPts val="374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4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-235744" algn="l">
              <a:lnSpc>
                <a:spcPct val="90000"/>
              </a:lnSpc>
              <a:spcBef>
                <a:spcPts val="374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4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3200" marR="0" lvl="7" indent="-235744" algn="l">
              <a:lnSpc>
                <a:spcPct val="90000"/>
              </a:lnSpc>
              <a:spcBef>
                <a:spcPts val="374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4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6100" marR="0" lvl="8" indent="-235744" algn="l">
              <a:lnSpc>
                <a:spcPct val="90000"/>
              </a:lnSpc>
              <a:spcBef>
                <a:spcPts val="374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4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Google Shape;39;p4"/>
          <p:cNvSpPr txBox="1">
            <a:spLocks noGrp="1"/>
          </p:cNvSpPr>
          <p:nvPr>
            <p:ph type="title"/>
          </p:nvPr>
        </p:nvSpPr>
        <p:spPr>
          <a:xfrm>
            <a:off x="358780" y="451456"/>
            <a:ext cx="10694540" cy="685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4"/>
          <p:cNvSpPr txBox="1">
            <a:spLocks noGrp="1"/>
          </p:cNvSpPr>
          <p:nvPr>
            <p:ph type="sldNum" idx="12"/>
          </p:nvPr>
        </p:nvSpPr>
        <p:spPr>
          <a:xfrm>
            <a:off x="11053318" y="451456"/>
            <a:ext cx="910085" cy="685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91"/>
              <a:buNone/>
              <a:defRPr sz="1343" b="0" i="0" u="none" strike="noStrike" cap="none">
                <a:solidFill>
                  <a:srgbClr val="26262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084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,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B47228A-8C60-824E-9DC0-8B7D9F95B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69925" cy="876301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 marL="0">
              <a:lnSpc>
                <a:spcPct val="100000"/>
              </a:lnSpc>
              <a:defRPr sz="2800" b="1" i="0" kern="1200" spc="0" baseline="0">
                <a:solidFill>
                  <a:srgbClr val="457194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Page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0206B0B-99C9-EC4C-985A-C8A0CD25D66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599" y="1066800"/>
            <a:ext cx="10969925" cy="5334000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88705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2" pos="489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568450" y="3362164"/>
            <a:ext cx="8838292" cy="59412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lang="en-US" sz="2400" b="0" kern="120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568449" y="1603613"/>
            <a:ext cx="8838293" cy="1800519"/>
          </a:xfrm>
        </p:spPr>
        <p:txBody>
          <a:bodyPr anchor="b" anchorCtr="0">
            <a:normAutofit/>
          </a:bodyPr>
          <a:lstStyle>
            <a:lvl1pPr algn="l">
              <a:lnSpc>
                <a:spcPct val="83000"/>
              </a:lnSpc>
              <a:defRPr kumimoji="0" lang="en-US" sz="4800" b="1" i="0" u="none" strike="noStrike" kern="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918" y="396059"/>
            <a:ext cx="3288065" cy="898049"/>
          </a:xfrm>
          <a:prstGeom prst="rect">
            <a:avLst/>
          </a:prstGeom>
        </p:spPr>
      </p:pic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-7620" y="4613251"/>
            <a:ext cx="12207240" cy="1785944"/>
            <a:chOff x="0" y="4613251"/>
            <a:chExt cx="12192000" cy="1783714"/>
          </a:xfrm>
        </p:grpSpPr>
        <p:sp>
          <p:nvSpPr>
            <p:cNvPr id="11" name="object 18"/>
            <p:cNvSpPr/>
            <p:nvPr userDrawn="1"/>
          </p:nvSpPr>
          <p:spPr>
            <a:xfrm>
              <a:off x="0" y="4613251"/>
              <a:ext cx="12192000" cy="1783714"/>
            </a:xfrm>
            <a:custGeom>
              <a:avLst/>
              <a:gdLst/>
              <a:ahLst/>
              <a:cxnLst/>
              <a:rect l="l" t="t" r="r" b="b"/>
              <a:pathLst>
                <a:path w="12192000" h="1783714">
                  <a:moveTo>
                    <a:pt x="0" y="1669073"/>
                  </a:moveTo>
                  <a:lnTo>
                    <a:pt x="43521" y="1675430"/>
                  </a:lnTo>
                  <a:lnTo>
                    <a:pt x="90906" y="1682117"/>
                  </a:lnTo>
                  <a:lnTo>
                    <a:pt x="138340" y="1688577"/>
                  </a:lnTo>
                  <a:lnTo>
                    <a:pt x="185821" y="1694813"/>
                  </a:lnTo>
                  <a:lnTo>
                    <a:pt x="233351" y="1700825"/>
                  </a:lnTo>
                  <a:lnTo>
                    <a:pt x="280927" y="1706615"/>
                  </a:lnTo>
                  <a:lnTo>
                    <a:pt x="328551" y="1712183"/>
                  </a:lnTo>
                  <a:lnTo>
                    <a:pt x="376220" y="1717531"/>
                  </a:lnTo>
                  <a:lnTo>
                    <a:pt x="423936" y="1722660"/>
                  </a:lnTo>
                  <a:lnTo>
                    <a:pt x="471697" y="1727571"/>
                  </a:lnTo>
                  <a:lnTo>
                    <a:pt x="519502" y="1732265"/>
                  </a:lnTo>
                  <a:lnTo>
                    <a:pt x="567352" y="1736743"/>
                  </a:lnTo>
                  <a:lnTo>
                    <a:pt x="615246" y="1741008"/>
                  </a:lnTo>
                  <a:lnTo>
                    <a:pt x="663184" y="1745059"/>
                  </a:lnTo>
                  <a:lnTo>
                    <a:pt x="711165" y="1748898"/>
                  </a:lnTo>
                  <a:lnTo>
                    <a:pt x="759188" y="1752526"/>
                  </a:lnTo>
                  <a:lnTo>
                    <a:pt x="807253" y="1755944"/>
                  </a:lnTo>
                  <a:lnTo>
                    <a:pt x="855361" y="1759154"/>
                  </a:lnTo>
                  <a:lnTo>
                    <a:pt x="903509" y="1762157"/>
                  </a:lnTo>
                  <a:lnTo>
                    <a:pt x="951698" y="1764953"/>
                  </a:lnTo>
                  <a:lnTo>
                    <a:pt x="999927" y="1767545"/>
                  </a:lnTo>
                  <a:lnTo>
                    <a:pt x="1048197" y="1769932"/>
                  </a:lnTo>
                  <a:lnTo>
                    <a:pt x="1096505" y="1772117"/>
                  </a:lnTo>
                  <a:lnTo>
                    <a:pt x="1144853" y="1774100"/>
                  </a:lnTo>
                  <a:lnTo>
                    <a:pt x="1193239" y="1775883"/>
                  </a:lnTo>
                  <a:lnTo>
                    <a:pt x="1241663" y="1777467"/>
                  </a:lnTo>
                  <a:lnTo>
                    <a:pt x="1290125" y="1778853"/>
                  </a:lnTo>
                  <a:lnTo>
                    <a:pt x="1338623" y="1780042"/>
                  </a:lnTo>
                  <a:lnTo>
                    <a:pt x="1387159" y="1781035"/>
                  </a:lnTo>
                  <a:lnTo>
                    <a:pt x="1435730" y="1781834"/>
                  </a:lnTo>
                  <a:lnTo>
                    <a:pt x="1484338" y="1782439"/>
                  </a:lnTo>
                  <a:lnTo>
                    <a:pt x="1532980" y="1782852"/>
                  </a:lnTo>
                  <a:lnTo>
                    <a:pt x="1581658" y="1783075"/>
                  </a:lnTo>
                  <a:lnTo>
                    <a:pt x="1630369" y="1783107"/>
                  </a:lnTo>
                  <a:lnTo>
                    <a:pt x="1679115" y="1782951"/>
                  </a:lnTo>
                  <a:lnTo>
                    <a:pt x="1727894" y="1782607"/>
                  </a:lnTo>
                  <a:lnTo>
                    <a:pt x="1776706" y="1782077"/>
                  </a:lnTo>
                  <a:lnTo>
                    <a:pt x="1825551" y="1781362"/>
                  </a:lnTo>
                  <a:lnTo>
                    <a:pt x="1874427" y="1780463"/>
                  </a:lnTo>
                  <a:lnTo>
                    <a:pt x="1923335" y="1779381"/>
                  </a:lnTo>
                  <a:lnTo>
                    <a:pt x="1972275" y="1778118"/>
                  </a:lnTo>
                  <a:lnTo>
                    <a:pt x="2021245" y="1776674"/>
                  </a:lnTo>
                  <a:lnTo>
                    <a:pt x="2070245" y="1775051"/>
                  </a:lnTo>
                  <a:lnTo>
                    <a:pt x="2119275" y="1773249"/>
                  </a:lnTo>
                  <a:lnTo>
                    <a:pt x="2168334" y="1771271"/>
                  </a:lnTo>
                  <a:lnTo>
                    <a:pt x="2217422" y="1769117"/>
                  </a:lnTo>
                  <a:lnTo>
                    <a:pt x="2266539" y="1766788"/>
                  </a:lnTo>
                  <a:lnTo>
                    <a:pt x="2315683" y="1764286"/>
                  </a:lnTo>
                  <a:lnTo>
                    <a:pt x="2364855" y="1761612"/>
                  </a:lnTo>
                  <a:lnTo>
                    <a:pt x="2414054" y="1758766"/>
                  </a:lnTo>
                  <a:lnTo>
                    <a:pt x="2463280" y="1755751"/>
                  </a:lnTo>
                  <a:lnTo>
                    <a:pt x="2512531" y="1752567"/>
                  </a:lnTo>
                  <a:lnTo>
                    <a:pt x="2561809" y="1749215"/>
                  </a:lnTo>
                  <a:lnTo>
                    <a:pt x="2611111" y="1745697"/>
                  </a:lnTo>
                  <a:lnTo>
                    <a:pt x="2660438" y="1742013"/>
                  </a:lnTo>
                  <a:lnTo>
                    <a:pt x="2709790" y="1738166"/>
                  </a:lnTo>
                  <a:lnTo>
                    <a:pt x="2759165" y="1734155"/>
                  </a:lnTo>
                  <a:lnTo>
                    <a:pt x="2808563" y="1729983"/>
                  </a:lnTo>
                  <a:lnTo>
                    <a:pt x="2857985" y="1725650"/>
                  </a:lnTo>
                  <a:lnTo>
                    <a:pt x="2907429" y="1721158"/>
                  </a:lnTo>
                  <a:lnTo>
                    <a:pt x="2956895" y="1716508"/>
                  </a:lnTo>
                  <a:lnTo>
                    <a:pt x="3006382" y="1711700"/>
                  </a:lnTo>
                  <a:lnTo>
                    <a:pt x="3055890" y="1706737"/>
                  </a:lnTo>
                  <a:lnTo>
                    <a:pt x="3105419" y="1701619"/>
                  </a:lnTo>
                  <a:lnTo>
                    <a:pt x="3154968" y="1696347"/>
                  </a:lnTo>
                  <a:lnTo>
                    <a:pt x="3204537" y="1690923"/>
                  </a:lnTo>
                  <a:lnTo>
                    <a:pt x="3254125" y="1685348"/>
                  </a:lnTo>
                  <a:lnTo>
                    <a:pt x="3303732" y="1679622"/>
                  </a:lnTo>
                  <a:lnTo>
                    <a:pt x="3353357" y="1673748"/>
                  </a:lnTo>
                  <a:lnTo>
                    <a:pt x="3403000" y="1667726"/>
                  </a:lnTo>
                  <a:lnTo>
                    <a:pt x="3452660" y="1661558"/>
                  </a:lnTo>
                  <a:lnTo>
                    <a:pt x="3502338" y="1655244"/>
                  </a:lnTo>
                  <a:lnTo>
                    <a:pt x="3552031" y="1648786"/>
                  </a:lnTo>
                  <a:lnTo>
                    <a:pt x="3601741" y="1642185"/>
                  </a:lnTo>
                  <a:lnTo>
                    <a:pt x="3651466" y="1635442"/>
                  </a:lnTo>
                  <a:lnTo>
                    <a:pt x="3701207" y="1628558"/>
                  </a:lnTo>
                  <a:lnTo>
                    <a:pt x="3750962" y="1621535"/>
                  </a:lnTo>
                  <a:lnTo>
                    <a:pt x="3800731" y="1614374"/>
                  </a:lnTo>
                  <a:lnTo>
                    <a:pt x="3850514" y="1607075"/>
                  </a:lnTo>
                  <a:lnTo>
                    <a:pt x="3900310" y="1599641"/>
                  </a:lnTo>
                  <a:lnTo>
                    <a:pt x="3950119" y="1592071"/>
                  </a:lnTo>
                  <a:lnTo>
                    <a:pt x="3999940" y="1584368"/>
                  </a:lnTo>
                  <a:lnTo>
                    <a:pt x="4049774" y="1576532"/>
                  </a:lnTo>
                  <a:lnTo>
                    <a:pt x="4099618" y="1568565"/>
                  </a:lnTo>
                  <a:lnTo>
                    <a:pt x="4149474" y="1560468"/>
                  </a:lnTo>
                  <a:lnTo>
                    <a:pt x="4199340" y="1552242"/>
                  </a:lnTo>
                  <a:lnTo>
                    <a:pt x="4249216" y="1543888"/>
                  </a:lnTo>
                  <a:lnTo>
                    <a:pt x="4299102" y="1535408"/>
                  </a:lnTo>
                  <a:lnTo>
                    <a:pt x="4348997" y="1526802"/>
                  </a:lnTo>
                  <a:lnTo>
                    <a:pt x="4398900" y="1518071"/>
                  </a:lnTo>
                  <a:lnTo>
                    <a:pt x="4448812" y="1509218"/>
                  </a:lnTo>
                  <a:lnTo>
                    <a:pt x="4498731" y="1500242"/>
                  </a:lnTo>
                  <a:lnTo>
                    <a:pt x="4548658" y="1491146"/>
                  </a:lnTo>
                  <a:lnTo>
                    <a:pt x="4598592" y="1481930"/>
                  </a:lnTo>
                  <a:lnTo>
                    <a:pt x="4648532" y="1472595"/>
                  </a:lnTo>
                  <a:lnTo>
                    <a:pt x="4698478" y="1463144"/>
                  </a:lnTo>
                  <a:lnTo>
                    <a:pt x="4748429" y="1453576"/>
                  </a:lnTo>
                  <a:lnTo>
                    <a:pt x="4798386" y="1443893"/>
                  </a:lnTo>
                  <a:lnTo>
                    <a:pt x="4848347" y="1434097"/>
                  </a:lnTo>
                  <a:lnTo>
                    <a:pt x="4898312" y="1424187"/>
                  </a:lnTo>
                  <a:lnTo>
                    <a:pt x="4948280" y="1414167"/>
                  </a:lnTo>
                  <a:lnTo>
                    <a:pt x="4998252" y="1404036"/>
                  </a:lnTo>
                  <a:lnTo>
                    <a:pt x="5048227" y="1393796"/>
                  </a:lnTo>
                  <a:lnTo>
                    <a:pt x="5098204" y="1383448"/>
                  </a:lnTo>
                  <a:lnTo>
                    <a:pt x="5148182" y="1372993"/>
                  </a:lnTo>
                  <a:lnTo>
                    <a:pt x="5198162" y="1362433"/>
                  </a:lnTo>
                  <a:lnTo>
                    <a:pt x="5248143" y="1351768"/>
                  </a:lnTo>
                  <a:lnTo>
                    <a:pt x="5298124" y="1341000"/>
                  </a:lnTo>
                  <a:lnTo>
                    <a:pt x="5348106" y="1330130"/>
                  </a:lnTo>
                  <a:lnTo>
                    <a:pt x="5398086" y="1319159"/>
                  </a:lnTo>
                  <a:lnTo>
                    <a:pt x="5448066" y="1308089"/>
                  </a:lnTo>
                  <a:lnTo>
                    <a:pt x="5498044" y="1296919"/>
                  </a:lnTo>
                  <a:lnTo>
                    <a:pt x="5548021" y="1285652"/>
                  </a:lnTo>
                  <a:lnTo>
                    <a:pt x="5597995" y="1274290"/>
                  </a:lnTo>
                  <a:lnTo>
                    <a:pt x="5647966" y="1262832"/>
                  </a:lnTo>
                  <a:lnTo>
                    <a:pt x="5697935" y="1251280"/>
                  </a:lnTo>
                  <a:lnTo>
                    <a:pt x="5747899" y="1239635"/>
                  </a:lnTo>
                  <a:lnTo>
                    <a:pt x="5797859" y="1227899"/>
                  </a:lnTo>
                  <a:lnTo>
                    <a:pt x="5847815" y="1216072"/>
                  </a:lnTo>
                  <a:lnTo>
                    <a:pt x="5897765" y="1204156"/>
                  </a:lnTo>
                  <a:lnTo>
                    <a:pt x="5947711" y="1192152"/>
                  </a:lnTo>
                  <a:lnTo>
                    <a:pt x="5997650" y="1180062"/>
                  </a:lnTo>
                  <a:lnTo>
                    <a:pt x="6047582" y="1167885"/>
                  </a:lnTo>
                  <a:lnTo>
                    <a:pt x="6097508" y="1155624"/>
                  </a:lnTo>
                  <a:lnTo>
                    <a:pt x="6147426" y="1143280"/>
                  </a:lnTo>
                  <a:lnTo>
                    <a:pt x="6197336" y="1130853"/>
                  </a:lnTo>
                  <a:lnTo>
                    <a:pt x="6247239" y="1118346"/>
                  </a:lnTo>
                  <a:lnTo>
                    <a:pt x="6297132" y="1105758"/>
                  </a:lnTo>
                  <a:lnTo>
                    <a:pt x="6347016" y="1093092"/>
                  </a:lnTo>
                  <a:lnTo>
                    <a:pt x="6396891" y="1080348"/>
                  </a:lnTo>
                  <a:lnTo>
                    <a:pt x="6446755" y="1067528"/>
                  </a:lnTo>
                  <a:lnTo>
                    <a:pt x="6496609" y="1054633"/>
                  </a:lnTo>
                  <a:lnTo>
                    <a:pt x="6546452" y="1041664"/>
                  </a:lnTo>
                  <a:lnTo>
                    <a:pt x="6596283" y="1028622"/>
                  </a:lnTo>
                  <a:lnTo>
                    <a:pt x="6646102" y="1015508"/>
                  </a:lnTo>
                  <a:lnTo>
                    <a:pt x="6695909" y="1002324"/>
                  </a:lnTo>
                  <a:lnTo>
                    <a:pt x="6745703" y="989070"/>
                  </a:lnTo>
                  <a:lnTo>
                    <a:pt x="6795484" y="975748"/>
                  </a:lnTo>
                  <a:lnTo>
                    <a:pt x="6845251" y="962360"/>
                  </a:lnTo>
                  <a:lnTo>
                    <a:pt x="6895004" y="948905"/>
                  </a:lnTo>
                  <a:lnTo>
                    <a:pt x="6944742" y="935386"/>
                  </a:lnTo>
                  <a:lnTo>
                    <a:pt x="6994464" y="921803"/>
                  </a:lnTo>
                  <a:lnTo>
                    <a:pt x="7044171" y="908158"/>
                  </a:lnTo>
                  <a:lnTo>
                    <a:pt x="7093863" y="894452"/>
                  </a:lnTo>
                  <a:lnTo>
                    <a:pt x="7143537" y="880686"/>
                  </a:lnTo>
                  <a:lnTo>
                    <a:pt x="7193195" y="866861"/>
                  </a:lnTo>
                  <a:lnTo>
                    <a:pt x="7242835" y="852978"/>
                  </a:lnTo>
                  <a:lnTo>
                    <a:pt x="7292457" y="839039"/>
                  </a:lnTo>
                  <a:lnTo>
                    <a:pt x="7342061" y="825045"/>
                  </a:lnTo>
                  <a:lnTo>
                    <a:pt x="7391646" y="810996"/>
                  </a:lnTo>
                  <a:lnTo>
                    <a:pt x="7441211" y="796895"/>
                  </a:lnTo>
                  <a:lnTo>
                    <a:pt x="7490757" y="782742"/>
                  </a:lnTo>
                  <a:lnTo>
                    <a:pt x="7540283" y="768538"/>
                  </a:lnTo>
                  <a:lnTo>
                    <a:pt x="7589788" y="754284"/>
                  </a:lnTo>
                  <a:lnTo>
                    <a:pt x="7639272" y="739983"/>
                  </a:lnTo>
                  <a:lnTo>
                    <a:pt x="7688734" y="725634"/>
                  </a:lnTo>
                  <a:lnTo>
                    <a:pt x="7738174" y="711239"/>
                  </a:lnTo>
                  <a:lnTo>
                    <a:pt x="7787592" y="696800"/>
                  </a:lnTo>
                  <a:lnTo>
                    <a:pt x="7836987" y="682317"/>
                  </a:lnTo>
                  <a:lnTo>
                    <a:pt x="7886358" y="667792"/>
                  </a:lnTo>
                  <a:lnTo>
                    <a:pt x="7935706" y="653225"/>
                  </a:lnTo>
                  <a:lnTo>
                    <a:pt x="7985029" y="638618"/>
                  </a:lnTo>
                  <a:lnTo>
                    <a:pt x="8034327" y="623972"/>
                  </a:lnTo>
                  <a:lnTo>
                    <a:pt x="8083600" y="609289"/>
                  </a:lnTo>
                  <a:lnTo>
                    <a:pt x="8132848" y="594569"/>
                  </a:lnTo>
                  <a:lnTo>
                    <a:pt x="8182069" y="579813"/>
                  </a:lnTo>
                  <a:lnTo>
                    <a:pt x="8231263" y="565024"/>
                  </a:lnTo>
                  <a:lnTo>
                    <a:pt x="8280431" y="550201"/>
                  </a:lnTo>
                  <a:lnTo>
                    <a:pt x="8329571" y="535346"/>
                  </a:lnTo>
                  <a:lnTo>
                    <a:pt x="8378683" y="520461"/>
                  </a:lnTo>
                  <a:lnTo>
                    <a:pt x="8427766" y="505546"/>
                  </a:lnTo>
                  <a:lnTo>
                    <a:pt x="8476821" y="490603"/>
                  </a:lnTo>
                  <a:lnTo>
                    <a:pt x="8525846" y="475632"/>
                  </a:lnTo>
                  <a:lnTo>
                    <a:pt x="8574841" y="460635"/>
                  </a:lnTo>
                  <a:lnTo>
                    <a:pt x="8623806" y="445614"/>
                  </a:lnTo>
                  <a:lnTo>
                    <a:pt x="8672741" y="430569"/>
                  </a:lnTo>
                  <a:lnTo>
                    <a:pt x="8731141" y="412776"/>
                  </a:lnTo>
                  <a:lnTo>
                    <a:pt x="8789473" y="395387"/>
                  </a:lnTo>
                  <a:lnTo>
                    <a:pt x="8847732" y="378399"/>
                  </a:lnTo>
                  <a:lnTo>
                    <a:pt x="8905911" y="361811"/>
                  </a:lnTo>
                  <a:lnTo>
                    <a:pt x="8964005" y="345621"/>
                  </a:lnTo>
                  <a:lnTo>
                    <a:pt x="9022009" y="329826"/>
                  </a:lnTo>
                  <a:lnTo>
                    <a:pt x="9079917" y="314426"/>
                  </a:lnTo>
                  <a:lnTo>
                    <a:pt x="9137723" y="299418"/>
                  </a:lnTo>
                  <a:lnTo>
                    <a:pt x="9195422" y="284801"/>
                  </a:lnTo>
                  <a:lnTo>
                    <a:pt x="9253009" y="270573"/>
                  </a:lnTo>
                  <a:lnTo>
                    <a:pt x="9310478" y="256732"/>
                  </a:lnTo>
                  <a:lnTo>
                    <a:pt x="9367823" y="243276"/>
                  </a:lnTo>
                  <a:lnTo>
                    <a:pt x="9425039" y="230204"/>
                  </a:lnTo>
                  <a:lnTo>
                    <a:pt x="9482120" y="217514"/>
                  </a:lnTo>
                  <a:lnTo>
                    <a:pt x="9539061" y="205204"/>
                  </a:lnTo>
                  <a:lnTo>
                    <a:pt x="9595857" y="193272"/>
                  </a:lnTo>
                  <a:lnTo>
                    <a:pt x="9652501" y="181716"/>
                  </a:lnTo>
                  <a:lnTo>
                    <a:pt x="9708989" y="170535"/>
                  </a:lnTo>
                  <a:lnTo>
                    <a:pt x="9765314" y="159728"/>
                  </a:lnTo>
                  <a:lnTo>
                    <a:pt x="9821471" y="149291"/>
                  </a:lnTo>
                  <a:lnTo>
                    <a:pt x="9877455" y="139224"/>
                  </a:lnTo>
                  <a:lnTo>
                    <a:pt x="9933260" y="129524"/>
                  </a:lnTo>
                  <a:lnTo>
                    <a:pt x="9988881" y="120191"/>
                  </a:lnTo>
                  <a:lnTo>
                    <a:pt x="10044312" y="111221"/>
                  </a:lnTo>
                  <a:lnTo>
                    <a:pt x="10099547" y="102614"/>
                  </a:lnTo>
                  <a:lnTo>
                    <a:pt x="10154581" y="94367"/>
                  </a:lnTo>
                  <a:lnTo>
                    <a:pt x="10209409" y="86479"/>
                  </a:lnTo>
                  <a:lnTo>
                    <a:pt x="10264024" y="78948"/>
                  </a:lnTo>
                  <a:lnTo>
                    <a:pt x="10318422" y="71772"/>
                  </a:lnTo>
                  <a:lnTo>
                    <a:pt x="10372597" y="64950"/>
                  </a:lnTo>
                  <a:lnTo>
                    <a:pt x="10426544" y="58479"/>
                  </a:lnTo>
                  <a:lnTo>
                    <a:pt x="10480256" y="52359"/>
                  </a:lnTo>
                  <a:lnTo>
                    <a:pt x="10533728" y="46586"/>
                  </a:lnTo>
                  <a:lnTo>
                    <a:pt x="10586955" y="41160"/>
                  </a:lnTo>
                  <a:lnTo>
                    <a:pt x="10639932" y="36078"/>
                  </a:lnTo>
                  <a:lnTo>
                    <a:pt x="10692652" y="31340"/>
                  </a:lnTo>
                  <a:lnTo>
                    <a:pt x="10745110" y="26942"/>
                  </a:lnTo>
                  <a:lnTo>
                    <a:pt x="10797301" y="22883"/>
                  </a:lnTo>
                  <a:lnTo>
                    <a:pt x="10849219" y="19162"/>
                  </a:lnTo>
                  <a:lnTo>
                    <a:pt x="10900859" y="15777"/>
                  </a:lnTo>
                  <a:lnTo>
                    <a:pt x="10952214" y="12726"/>
                  </a:lnTo>
                  <a:lnTo>
                    <a:pt x="11003281" y="10007"/>
                  </a:lnTo>
                  <a:lnTo>
                    <a:pt x="11054052" y="7618"/>
                  </a:lnTo>
                  <a:lnTo>
                    <a:pt x="11104522" y="5558"/>
                  </a:lnTo>
                  <a:lnTo>
                    <a:pt x="11154687" y="3825"/>
                  </a:lnTo>
                  <a:lnTo>
                    <a:pt x="11204540" y="2417"/>
                  </a:lnTo>
                  <a:lnTo>
                    <a:pt x="11254076" y="1332"/>
                  </a:lnTo>
                  <a:lnTo>
                    <a:pt x="11303289" y="569"/>
                  </a:lnTo>
                  <a:lnTo>
                    <a:pt x="11352174" y="125"/>
                  </a:lnTo>
                  <a:lnTo>
                    <a:pt x="11400726" y="0"/>
                  </a:lnTo>
                  <a:lnTo>
                    <a:pt x="11448938" y="190"/>
                  </a:lnTo>
                  <a:lnTo>
                    <a:pt x="11496805" y="695"/>
                  </a:lnTo>
                  <a:lnTo>
                    <a:pt x="11544322" y="1513"/>
                  </a:lnTo>
                  <a:lnTo>
                    <a:pt x="11591483" y="2642"/>
                  </a:lnTo>
                  <a:lnTo>
                    <a:pt x="11638283" y="4080"/>
                  </a:lnTo>
                  <a:lnTo>
                    <a:pt x="11684716" y="5825"/>
                  </a:lnTo>
                  <a:lnTo>
                    <a:pt x="11730777" y="7876"/>
                  </a:lnTo>
                  <a:lnTo>
                    <a:pt x="11776460" y="10231"/>
                  </a:lnTo>
                  <a:lnTo>
                    <a:pt x="11821759" y="12887"/>
                  </a:lnTo>
                  <a:lnTo>
                    <a:pt x="11866669" y="15844"/>
                  </a:lnTo>
                  <a:lnTo>
                    <a:pt x="11911185" y="19100"/>
                  </a:lnTo>
                  <a:lnTo>
                    <a:pt x="11955300" y="22652"/>
                  </a:lnTo>
                  <a:lnTo>
                    <a:pt x="11999010" y="26499"/>
                  </a:lnTo>
                  <a:lnTo>
                    <a:pt x="12042309" y="30639"/>
                  </a:lnTo>
                  <a:lnTo>
                    <a:pt x="12085191" y="35071"/>
                  </a:lnTo>
                  <a:lnTo>
                    <a:pt x="12127651" y="39792"/>
                  </a:lnTo>
                  <a:lnTo>
                    <a:pt x="12169684" y="44801"/>
                  </a:lnTo>
                  <a:lnTo>
                    <a:pt x="12192000" y="47642"/>
                  </a:lnTo>
                </a:path>
              </a:pathLst>
            </a:custGeom>
            <a:ln w="25400">
              <a:solidFill>
                <a:srgbClr val="DA1E4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9"/>
            <p:cNvSpPr/>
            <p:nvPr userDrawn="1"/>
          </p:nvSpPr>
          <p:spPr>
            <a:xfrm>
              <a:off x="0" y="5047558"/>
              <a:ext cx="12192000" cy="1029969"/>
            </a:xfrm>
            <a:custGeom>
              <a:avLst/>
              <a:gdLst/>
              <a:ahLst/>
              <a:cxnLst/>
              <a:rect l="l" t="t" r="r" b="b"/>
              <a:pathLst>
                <a:path w="12192000" h="1029970">
                  <a:moveTo>
                    <a:pt x="12192000" y="68478"/>
                  </a:moveTo>
                  <a:lnTo>
                    <a:pt x="12140152" y="60680"/>
                  </a:lnTo>
                  <a:lnTo>
                    <a:pt x="12100389" y="55127"/>
                  </a:lnTo>
                  <a:lnTo>
                    <a:pt x="12060079" y="49836"/>
                  </a:lnTo>
                  <a:lnTo>
                    <a:pt x="12019228" y="44806"/>
                  </a:lnTo>
                  <a:lnTo>
                    <a:pt x="11977843" y="40039"/>
                  </a:lnTo>
                  <a:lnTo>
                    <a:pt x="11935931" y="35535"/>
                  </a:lnTo>
                  <a:lnTo>
                    <a:pt x="11893498" y="31296"/>
                  </a:lnTo>
                  <a:lnTo>
                    <a:pt x="11850553" y="27322"/>
                  </a:lnTo>
                  <a:lnTo>
                    <a:pt x="11807101" y="23614"/>
                  </a:lnTo>
                  <a:lnTo>
                    <a:pt x="11763149" y="20173"/>
                  </a:lnTo>
                  <a:lnTo>
                    <a:pt x="11718704" y="16999"/>
                  </a:lnTo>
                  <a:lnTo>
                    <a:pt x="11673773" y="14094"/>
                  </a:lnTo>
                  <a:lnTo>
                    <a:pt x="11628363" y="11458"/>
                  </a:lnTo>
                  <a:lnTo>
                    <a:pt x="11582481" y="9093"/>
                  </a:lnTo>
                  <a:lnTo>
                    <a:pt x="11536134" y="6999"/>
                  </a:lnTo>
                  <a:lnTo>
                    <a:pt x="11489327" y="5176"/>
                  </a:lnTo>
                  <a:lnTo>
                    <a:pt x="11442069" y="3627"/>
                  </a:lnTo>
                  <a:lnTo>
                    <a:pt x="11394366" y="2351"/>
                  </a:lnTo>
                  <a:lnTo>
                    <a:pt x="11346225" y="1349"/>
                  </a:lnTo>
                  <a:lnTo>
                    <a:pt x="11297653" y="623"/>
                  </a:lnTo>
                  <a:lnTo>
                    <a:pt x="11248656" y="173"/>
                  </a:lnTo>
                  <a:lnTo>
                    <a:pt x="11199242" y="0"/>
                  </a:lnTo>
                  <a:lnTo>
                    <a:pt x="11149417" y="104"/>
                  </a:lnTo>
                  <a:lnTo>
                    <a:pt x="11099188" y="488"/>
                  </a:lnTo>
                  <a:lnTo>
                    <a:pt x="11048563" y="1150"/>
                  </a:lnTo>
                  <a:lnTo>
                    <a:pt x="10997547" y="2094"/>
                  </a:lnTo>
                  <a:lnTo>
                    <a:pt x="10946148" y="3318"/>
                  </a:lnTo>
                  <a:lnTo>
                    <a:pt x="10894372" y="4825"/>
                  </a:lnTo>
                  <a:lnTo>
                    <a:pt x="10842227" y="6614"/>
                  </a:lnTo>
                  <a:lnTo>
                    <a:pt x="10789719" y="8687"/>
                  </a:lnTo>
                  <a:lnTo>
                    <a:pt x="10736855" y="11045"/>
                  </a:lnTo>
                  <a:lnTo>
                    <a:pt x="10683641" y="13688"/>
                  </a:lnTo>
                  <a:lnTo>
                    <a:pt x="10630086" y="16617"/>
                  </a:lnTo>
                  <a:lnTo>
                    <a:pt x="10576195" y="19834"/>
                  </a:lnTo>
                  <a:lnTo>
                    <a:pt x="10521976" y="23338"/>
                  </a:lnTo>
                  <a:lnTo>
                    <a:pt x="10467435" y="27131"/>
                  </a:lnTo>
                  <a:lnTo>
                    <a:pt x="10412579" y="31214"/>
                  </a:lnTo>
                  <a:lnTo>
                    <a:pt x="10357416" y="35588"/>
                  </a:lnTo>
                  <a:lnTo>
                    <a:pt x="10301951" y="40253"/>
                  </a:lnTo>
                  <a:lnTo>
                    <a:pt x="10246191" y="45209"/>
                  </a:lnTo>
                  <a:lnTo>
                    <a:pt x="10190145" y="50459"/>
                  </a:lnTo>
                  <a:lnTo>
                    <a:pt x="10133817" y="56003"/>
                  </a:lnTo>
                  <a:lnTo>
                    <a:pt x="10077216" y="61842"/>
                  </a:lnTo>
                  <a:lnTo>
                    <a:pt x="10020348" y="67976"/>
                  </a:lnTo>
                  <a:lnTo>
                    <a:pt x="9963220" y="74406"/>
                  </a:lnTo>
                  <a:lnTo>
                    <a:pt x="9905838" y="81134"/>
                  </a:lnTo>
                  <a:lnTo>
                    <a:pt x="9848211" y="88160"/>
                  </a:lnTo>
                  <a:lnTo>
                    <a:pt x="9790343" y="95485"/>
                  </a:lnTo>
                  <a:lnTo>
                    <a:pt x="9732243" y="103109"/>
                  </a:lnTo>
                  <a:lnTo>
                    <a:pt x="9673917" y="111034"/>
                  </a:lnTo>
                  <a:lnTo>
                    <a:pt x="9615372" y="119261"/>
                  </a:lnTo>
                  <a:lnTo>
                    <a:pt x="9556615" y="127790"/>
                  </a:lnTo>
                  <a:lnTo>
                    <a:pt x="9497653" y="136622"/>
                  </a:lnTo>
                  <a:lnTo>
                    <a:pt x="9438492" y="145758"/>
                  </a:lnTo>
                  <a:lnTo>
                    <a:pt x="9379139" y="155199"/>
                  </a:lnTo>
                  <a:lnTo>
                    <a:pt x="9319602" y="164946"/>
                  </a:lnTo>
                  <a:lnTo>
                    <a:pt x="9259887" y="174999"/>
                  </a:lnTo>
                  <a:lnTo>
                    <a:pt x="9200000" y="185359"/>
                  </a:lnTo>
                  <a:lnTo>
                    <a:pt x="9139950" y="196028"/>
                  </a:lnTo>
                  <a:lnTo>
                    <a:pt x="9079742" y="207006"/>
                  </a:lnTo>
                  <a:lnTo>
                    <a:pt x="9019383" y="218294"/>
                  </a:lnTo>
                  <a:lnTo>
                    <a:pt x="8958881" y="229892"/>
                  </a:lnTo>
                  <a:lnTo>
                    <a:pt x="8898242" y="241802"/>
                  </a:lnTo>
                  <a:lnTo>
                    <a:pt x="8837473" y="254025"/>
                  </a:lnTo>
                  <a:lnTo>
                    <a:pt x="8776581" y="266561"/>
                  </a:lnTo>
                  <a:lnTo>
                    <a:pt x="8730075" y="276234"/>
                  </a:lnTo>
                  <a:lnTo>
                    <a:pt x="8683456" y="285898"/>
                  </a:lnTo>
                  <a:lnTo>
                    <a:pt x="8636725" y="295551"/>
                  </a:lnTo>
                  <a:lnTo>
                    <a:pt x="8589883" y="305193"/>
                  </a:lnTo>
                  <a:lnTo>
                    <a:pt x="8542932" y="314822"/>
                  </a:lnTo>
                  <a:lnTo>
                    <a:pt x="8495874" y="324437"/>
                  </a:lnTo>
                  <a:lnTo>
                    <a:pt x="8448708" y="334036"/>
                  </a:lnTo>
                  <a:lnTo>
                    <a:pt x="8401438" y="343619"/>
                  </a:lnTo>
                  <a:lnTo>
                    <a:pt x="8354063" y="353184"/>
                  </a:lnTo>
                  <a:lnTo>
                    <a:pt x="8306585" y="362731"/>
                  </a:lnTo>
                  <a:lnTo>
                    <a:pt x="8259006" y="372257"/>
                  </a:lnTo>
                  <a:lnTo>
                    <a:pt x="8211326" y="381763"/>
                  </a:lnTo>
                  <a:lnTo>
                    <a:pt x="8163548" y="391246"/>
                  </a:lnTo>
                  <a:lnTo>
                    <a:pt x="8115671" y="400706"/>
                  </a:lnTo>
                  <a:lnTo>
                    <a:pt x="8067699" y="410141"/>
                  </a:lnTo>
                  <a:lnTo>
                    <a:pt x="8019631" y="419550"/>
                  </a:lnTo>
                  <a:lnTo>
                    <a:pt x="7971470" y="428932"/>
                  </a:lnTo>
                  <a:lnTo>
                    <a:pt x="7923216" y="438285"/>
                  </a:lnTo>
                  <a:lnTo>
                    <a:pt x="7874870" y="447610"/>
                  </a:lnTo>
                  <a:lnTo>
                    <a:pt x="7826435" y="456904"/>
                  </a:lnTo>
                  <a:lnTo>
                    <a:pt x="7777911" y="466166"/>
                  </a:lnTo>
                  <a:lnTo>
                    <a:pt x="7729300" y="475395"/>
                  </a:lnTo>
                  <a:lnTo>
                    <a:pt x="7680602" y="484590"/>
                  </a:lnTo>
                  <a:lnTo>
                    <a:pt x="7631820" y="493750"/>
                  </a:lnTo>
                  <a:lnTo>
                    <a:pt x="7582954" y="502873"/>
                  </a:lnTo>
                  <a:lnTo>
                    <a:pt x="7534006" y="511958"/>
                  </a:lnTo>
                  <a:lnTo>
                    <a:pt x="7484977" y="521005"/>
                  </a:lnTo>
                  <a:lnTo>
                    <a:pt x="7435868" y="530012"/>
                  </a:lnTo>
                  <a:lnTo>
                    <a:pt x="7386681" y="538978"/>
                  </a:lnTo>
                  <a:lnTo>
                    <a:pt x="7337417" y="547901"/>
                  </a:lnTo>
                  <a:lnTo>
                    <a:pt x="7288077" y="556781"/>
                  </a:lnTo>
                  <a:lnTo>
                    <a:pt x="7238662" y="565616"/>
                  </a:lnTo>
                  <a:lnTo>
                    <a:pt x="7189175" y="574405"/>
                  </a:lnTo>
                  <a:lnTo>
                    <a:pt x="7139615" y="583147"/>
                  </a:lnTo>
                  <a:lnTo>
                    <a:pt x="7089984" y="591840"/>
                  </a:lnTo>
                  <a:lnTo>
                    <a:pt x="7040285" y="600485"/>
                  </a:lnTo>
                  <a:lnTo>
                    <a:pt x="6990517" y="609078"/>
                  </a:lnTo>
                  <a:lnTo>
                    <a:pt x="6940682" y="617620"/>
                  </a:lnTo>
                  <a:lnTo>
                    <a:pt x="6890782" y="626109"/>
                  </a:lnTo>
                  <a:lnTo>
                    <a:pt x="6840817" y="634544"/>
                  </a:lnTo>
                  <a:lnTo>
                    <a:pt x="6790790" y="642924"/>
                  </a:lnTo>
                  <a:lnTo>
                    <a:pt x="6740701" y="651247"/>
                  </a:lnTo>
                  <a:lnTo>
                    <a:pt x="6690551" y="659512"/>
                  </a:lnTo>
                  <a:lnTo>
                    <a:pt x="6640343" y="667719"/>
                  </a:lnTo>
                  <a:lnTo>
                    <a:pt x="6590076" y="675865"/>
                  </a:lnTo>
                  <a:lnTo>
                    <a:pt x="6539753" y="683950"/>
                  </a:lnTo>
                  <a:lnTo>
                    <a:pt x="6489375" y="691973"/>
                  </a:lnTo>
                  <a:lnTo>
                    <a:pt x="6438943" y="699932"/>
                  </a:lnTo>
                  <a:lnTo>
                    <a:pt x="6388458" y="707827"/>
                  </a:lnTo>
                  <a:lnTo>
                    <a:pt x="6337922" y="715655"/>
                  </a:lnTo>
                  <a:lnTo>
                    <a:pt x="6287336" y="723417"/>
                  </a:lnTo>
                  <a:lnTo>
                    <a:pt x="6236701" y="731110"/>
                  </a:lnTo>
                  <a:lnTo>
                    <a:pt x="6186019" y="738734"/>
                  </a:lnTo>
                  <a:lnTo>
                    <a:pt x="6135290" y="746287"/>
                  </a:lnTo>
                  <a:lnTo>
                    <a:pt x="6084516" y="753768"/>
                  </a:lnTo>
                  <a:lnTo>
                    <a:pt x="6033699" y="761177"/>
                  </a:lnTo>
                  <a:lnTo>
                    <a:pt x="5982839" y="768511"/>
                  </a:lnTo>
                  <a:lnTo>
                    <a:pt x="5931938" y="775769"/>
                  </a:lnTo>
                  <a:lnTo>
                    <a:pt x="5880998" y="782952"/>
                  </a:lnTo>
                  <a:lnTo>
                    <a:pt x="5830019" y="790056"/>
                  </a:lnTo>
                  <a:lnTo>
                    <a:pt x="5779002" y="797082"/>
                  </a:lnTo>
                  <a:lnTo>
                    <a:pt x="5727950" y="804027"/>
                  </a:lnTo>
                  <a:lnTo>
                    <a:pt x="5676863" y="810892"/>
                  </a:lnTo>
                  <a:lnTo>
                    <a:pt x="5625743" y="817674"/>
                  </a:lnTo>
                  <a:lnTo>
                    <a:pt x="5574591" y="824372"/>
                  </a:lnTo>
                  <a:lnTo>
                    <a:pt x="5523407" y="830986"/>
                  </a:lnTo>
                  <a:lnTo>
                    <a:pt x="5472195" y="837513"/>
                  </a:lnTo>
                  <a:lnTo>
                    <a:pt x="5420954" y="843954"/>
                  </a:lnTo>
                  <a:lnTo>
                    <a:pt x="5369686" y="850306"/>
                  </a:lnTo>
                  <a:lnTo>
                    <a:pt x="5318393" y="856568"/>
                  </a:lnTo>
                  <a:lnTo>
                    <a:pt x="5267075" y="862740"/>
                  </a:lnTo>
                  <a:lnTo>
                    <a:pt x="5215734" y="868820"/>
                  </a:lnTo>
                  <a:lnTo>
                    <a:pt x="5164371" y="874807"/>
                  </a:lnTo>
                  <a:lnTo>
                    <a:pt x="5112988" y="880700"/>
                  </a:lnTo>
                  <a:lnTo>
                    <a:pt x="5061586" y="886498"/>
                  </a:lnTo>
                  <a:lnTo>
                    <a:pt x="5010165" y="892199"/>
                  </a:lnTo>
                  <a:lnTo>
                    <a:pt x="4958728" y="897802"/>
                  </a:lnTo>
                  <a:lnTo>
                    <a:pt x="4907276" y="903306"/>
                  </a:lnTo>
                  <a:lnTo>
                    <a:pt x="4855810" y="908710"/>
                  </a:lnTo>
                  <a:lnTo>
                    <a:pt x="4804331" y="914013"/>
                  </a:lnTo>
                  <a:lnTo>
                    <a:pt x="4752840" y="919214"/>
                  </a:lnTo>
                  <a:lnTo>
                    <a:pt x="4701339" y="924311"/>
                  </a:lnTo>
                  <a:lnTo>
                    <a:pt x="4649829" y="929303"/>
                  </a:lnTo>
                  <a:lnTo>
                    <a:pt x="4598312" y="934189"/>
                  </a:lnTo>
                  <a:lnTo>
                    <a:pt x="4546788" y="938968"/>
                  </a:lnTo>
                  <a:lnTo>
                    <a:pt x="4495259" y="943638"/>
                  </a:lnTo>
                  <a:lnTo>
                    <a:pt x="4443726" y="948199"/>
                  </a:lnTo>
                  <a:lnTo>
                    <a:pt x="4392191" y="952649"/>
                  </a:lnTo>
                  <a:lnTo>
                    <a:pt x="4340655" y="956988"/>
                  </a:lnTo>
                  <a:lnTo>
                    <a:pt x="4289119" y="961213"/>
                  </a:lnTo>
                  <a:lnTo>
                    <a:pt x="4237584" y="965324"/>
                  </a:lnTo>
                  <a:lnTo>
                    <a:pt x="4186052" y="969320"/>
                  </a:lnTo>
                  <a:lnTo>
                    <a:pt x="4134523" y="973199"/>
                  </a:lnTo>
                  <a:lnTo>
                    <a:pt x="4083000" y="976961"/>
                  </a:lnTo>
                  <a:lnTo>
                    <a:pt x="4031484" y="980603"/>
                  </a:lnTo>
                  <a:lnTo>
                    <a:pt x="3979975" y="984125"/>
                  </a:lnTo>
                  <a:lnTo>
                    <a:pt x="3928475" y="987526"/>
                  </a:lnTo>
                  <a:lnTo>
                    <a:pt x="3876986" y="990805"/>
                  </a:lnTo>
                  <a:lnTo>
                    <a:pt x="3825508" y="993960"/>
                  </a:lnTo>
                  <a:lnTo>
                    <a:pt x="3774044" y="996990"/>
                  </a:lnTo>
                  <a:lnTo>
                    <a:pt x="3722593" y="999894"/>
                  </a:lnTo>
                  <a:lnTo>
                    <a:pt x="3671158" y="1002670"/>
                  </a:lnTo>
                  <a:lnTo>
                    <a:pt x="3619740" y="1005319"/>
                  </a:lnTo>
                  <a:lnTo>
                    <a:pt x="3568340" y="1007838"/>
                  </a:lnTo>
                  <a:lnTo>
                    <a:pt x="3516960" y="1010226"/>
                  </a:lnTo>
                  <a:lnTo>
                    <a:pt x="3465600" y="1012482"/>
                  </a:lnTo>
                  <a:lnTo>
                    <a:pt x="3414262" y="1014605"/>
                  </a:lnTo>
                  <a:lnTo>
                    <a:pt x="3362947" y="1016594"/>
                  </a:lnTo>
                  <a:lnTo>
                    <a:pt x="3311656" y="1018447"/>
                  </a:lnTo>
                  <a:lnTo>
                    <a:pt x="3260392" y="1020164"/>
                  </a:lnTo>
                  <a:lnTo>
                    <a:pt x="3209155" y="1021743"/>
                  </a:lnTo>
                  <a:lnTo>
                    <a:pt x="3157946" y="1023183"/>
                  </a:lnTo>
                  <a:lnTo>
                    <a:pt x="3106766" y="1024483"/>
                  </a:lnTo>
                  <a:lnTo>
                    <a:pt x="3055618" y="1025642"/>
                  </a:lnTo>
                  <a:lnTo>
                    <a:pt x="3004502" y="1026658"/>
                  </a:lnTo>
                  <a:lnTo>
                    <a:pt x="2953419" y="1027530"/>
                  </a:lnTo>
                  <a:lnTo>
                    <a:pt x="2902371" y="1028257"/>
                  </a:lnTo>
                  <a:lnTo>
                    <a:pt x="2851360" y="1028839"/>
                  </a:lnTo>
                  <a:lnTo>
                    <a:pt x="2800385" y="1029273"/>
                  </a:lnTo>
                  <a:lnTo>
                    <a:pt x="2749450" y="1029559"/>
                  </a:lnTo>
                  <a:lnTo>
                    <a:pt x="2698554" y="1029695"/>
                  </a:lnTo>
                  <a:lnTo>
                    <a:pt x="2647700" y="1029680"/>
                  </a:lnTo>
                  <a:lnTo>
                    <a:pt x="2596888" y="1029514"/>
                  </a:lnTo>
                  <a:lnTo>
                    <a:pt x="2546120" y="1029194"/>
                  </a:lnTo>
                  <a:lnTo>
                    <a:pt x="2495397" y="1028720"/>
                  </a:lnTo>
                  <a:lnTo>
                    <a:pt x="2444720" y="1028091"/>
                  </a:lnTo>
                  <a:lnTo>
                    <a:pt x="2394091" y="1027305"/>
                  </a:lnTo>
                  <a:lnTo>
                    <a:pt x="2343511" y="1026361"/>
                  </a:lnTo>
                  <a:lnTo>
                    <a:pt x="2292981" y="1025258"/>
                  </a:lnTo>
                  <a:lnTo>
                    <a:pt x="2242503" y="1023995"/>
                  </a:lnTo>
                  <a:lnTo>
                    <a:pt x="2192078" y="1022570"/>
                  </a:lnTo>
                  <a:lnTo>
                    <a:pt x="2141707" y="1020983"/>
                  </a:lnTo>
                  <a:lnTo>
                    <a:pt x="2091391" y="1019233"/>
                  </a:lnTo>
                  <a:lnTo>
                    <a:pt x="2041132" y="1017317"/>
                  </a:lnTo>
                  <a:lnTo>
                    <a:pt x="1990931" y="1015235"/>
                  </a:lnTo>
                  <a:lnTo>
                    <a:pt x="1940789" y="1012986"/>
                  </a:lnTo>
                  <a:lnTo>
                    <a:pt x="1890707" y="1010569"/>
                  </a:lnTo>
                  <a:lnTo>
                    <a:pt x="1840688" y="1007982"/>
                  </a:lnTo>
                  <a:lnTo>
                    <a:pt x="1790731" y="1005224"/>
                  </a:lnTo>
                  <a:lnTo>
                    <a:pt x="1740839" y="1002295"/>
                  </a:lnTo>
                  <a:lnTo>
                    <a:pt x="1691013" y="999192"/>
                  </a:lnTo>
                  <a:lnTo>
                    <a:pt x="1641254" y="995914"/>
                  </a:lnTo>
                  <a:lnTo>
                    <a:pt x="1591562" y="992462"/>
                  </a:lnTo>
                  <a:lnTo>
                    <a:pt x="1541941" y="988832"/>
                  </a:lnTo>
                  <a:lnTo>
                    <a:pt x="1492390" y="985025"/>
                  </a:lnTo>
                  <a:lnTo>
                    <a:pt x="1442911" y="981039"/>
                  </a:lnTo>
                  <a:lnTo>
                    <a:pt x="1393506" y="976872"/>
                  </a:lnTo>
                  <a:lnTo>
                    <a:pt x="1344176" y="972524"/>
                  </a:lnTo>
                  <a:lnTo>
                    <a:pt x="1294921" y="967993"/>
                  </a:lnTo>
                  <a:lnTo>
                    <a:pt x="1245744" y="963279"/>
                  </a:lnTo>
                  <a:lnTo>
                    <a:pt x="1196645" y="958380"/>
                  </a:lnTo>
                  <a:lnTo>
                    <a:pt x="1147626" y="953295"/>
                  </a:lnTo>
                  <a:lnTo>
                    <a:pt x="1098689" y="948022"/>
                  </a:lnTo>
                  <a:lnTo>
                    <a:pt x="1049833" y="942561"/>
                  </a:lnTo>
                  <a:lnTo>
                    <a:pt x="1001062" y="936910"/>
                  </a:lnTo>
                  <a:lnTo>
                    <a:pt x="952375" y="931069"/>
                  </a:lnTo>
                  <a:lnTo>
                    <a:pt x="903774" y="925035"/>
                  </a:lnTo>
                  <a:lnTo>
                    <a:pt x="855262" y="918808"/>
                  </a:lnTo>
                  <a:lnTo>
                    <a:pt x="806838" y="912387"/>
                  </a:lnTo>
                  <a:lnTo>
                    <a:pt x="758504" y="905771"/>
                  </a:lnTo>
                  <a:lnTo>
                    <a:pt x="710261" y="898957"/>
                  </a:lnTo>
                  <a:lnTo>
                    <a:pt x="662111" y="891946"/>
                  </a:lnTo>
                  <a:lnTo>
                    <a:pt x="614056" y="884736"/>
                  </a:lnTo>
                  <a:lnTo>
                    <a:pt x="566095" y="877325"/>
                  </a:lnTo>
                  <a:lnTo>
                    <a:pt x="518231" y="869713"/>
                  </a:lnTo>
                  <a:lnTo>
                    <a:pt x="470465" y="861899"/>
                  </a:lnTo>
                  <a:lnTo>
                    <a:pt x="422798" y="853880"/>
                  </a:lnTo>
                  <a:lnTo>
                    <a:pt x="375232" y="845657"/>
                  </a:lnTo>
                  <a:lnTo>
                    <a:pt x="327767" y="837228"/>
                  </a:lnTo>
                  <a:lnTo>
                    <a:pt x="280405" y="828591"/>
                  </a:lnTo>
                  <a:lnTo>
                    <a:pt x="233147" y="819746"/>
                  </a:lnTo>
                  <a:lnTo>
                    <a:pt x="185995" y="810691"/>
                  </a:lnTo>
                  <a:lnTo>
                    <a:pt x="138950" y="801425"/>
                  </a:lnTo>
                  <a:lnTo>
                    <a:pt x="92013" y="791947"/>
                  </a:lnTo>
                  <a:lnTo>
                    <a:pt x="45186" y="782256"/>
                  </a:lnTo>
                  <a:lnTo>
                    <a:pt x="0" y="772675"/>
                  </a:lnTo>
                </a:path>
              </a:pathLst>
            </a:custGeom>
            <a:ln w="25400">
              <a:solidFill>
                <a:srgbClr val="93959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68450" y="4321628"/>
            <a:ext cx="5626100" cy="106362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6017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95313" y="2792951"/>
            <a:ext cx="9809213" cy="632636"/>
          </a:xfrm>
        </p:spPr>
        <p:txBody>
          <a:bodyPr bIns="0" anchor="b" anchorCtr="0">
            <a:noAutofit/>
          </a:bodyPr>
          <a:lstStyle>
            <a:lvl1pPr algn="l">
              <a:lnSpc>
                <a:spcPct val="83000"/>
              </a:lnSpc>
              <a:defRPr kumimoji="0" lang="en-US" sz="4800" b="0" i="0" u="none" strike="noStrike" kern="0" cap="all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object 3"/>
          <p:cNvSpPr/>
          <p:nvPr userDrawn="1"/>
        </p:nvSpPr>
        <p:spPr>
          <a:xfrm>
            <a:off x="0" y="273978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3388927"/>
            <a:ext cx="9802812" cy="485775"/>
          </a:xfrm>
        </p:spPr>
        <p:txBody>
          <a:bodyPr/>
          <a:lstStyle>
            <a:lvl1pPr>
              <a:defRPr sz="2000" b="0" cap="all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40" y="5926347"/>
            <a:ext cx="1278753" cy="349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214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371600"/>
            <a:ext cx="10918825" cy="46759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4088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61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clo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5976311" y="1371599"/>
            <a:ext cx="5291764" cy="441251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537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371600"/>
            <a:ext cx="10918825" cy="46759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9848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964238" y="1371600"/>
            <a:ext cx="5303837" cy="441325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1964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17213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875649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339242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937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164588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7" hasCustomPrompt="1"/>
          </p:nvPr>
        </p:nvSpPr>
        <p:spPr>
          <a:xfrm>
            <a:off x="5970402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8776216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3951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510" y="1371600"/>
            <a:ext cx="9235289" cy="467597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78465" y="1467446"/>
            <a:ext cx="1435395" cy="1669164"/>
          </a:xfrm>
          <a:solidFill>
            <a:schemeClr val="bg2"/>
          </a:solidFill>
        </p:spPr>
        <p:txBody>
          <a:bodyPr wrap="none">
            <a:normAutofit/>
          </a:bodyPr>
          <a:lstStyle>
            <a:lvl1pPr>
              <a:defRPr sz="1050"/>
            </a:lvl1pPr>
          </a:lstStyle>
          <a:p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5258092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511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816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79376" y="251209"/>
            <a:ext cx="11243989" cy="874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79377" y="1520789"/>
            <a:ext cx="11243988" cy="453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1716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,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B47228A-8C60-824E-9DC0-8B7D9F95B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10969925" cy="876301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noAutofit/>
          </a:bodyPr>
          <a:lstStyle>
            <a:lvl1pPr marL="0">
              <a:lnSpc>
                <a:spcPct val="100000"/>
              </a:lnSpc>
              <a:defRPr sz="2800" b="1" i="0" kern="1200" spc="0" baseline="0">
                <a:solidFill>
                  <a:srgbClr val="457194"/>
                </a:solidFill>
                <a:latin typeface="Calibri" panose="020F0502020204030204" pitchFamily="34" charset="0"/>
                <a:ea typeface="Roboto Light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Page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0206B0B-99C9-EC4C-985A-C8A0CD25D66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599" y="1066800"/>
            <a:ext cx="10969925" cy="5334000"/>
          </a:xfrm>
        </p:spPr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557422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2" pos="489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918" y="396058"/>
            <a:ext cx="3280580" cy="89804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568450" y="3362164"/>
            <a:ext cx="8838292" cy="59412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lang="en-US" sz="2400" b="0" kern="120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568449" y="1603613"/>
            <a:ext cx="8838293" cy="1800519"/>
          </a:xfrm>
        </p:spPr>
        <p:txBody>
          <a:bodyPr anchor="b" anchorCtr="0">
            <a:normAutofit/>
          </a:bodyPr>
          <a:lstStyle>
            <a:lvl1pPr algn="l">
              <a:lnSpc>
                <a:spcPct val="83000"/>
              </a:lnSpc>
              <a:defRPr kumimoji="0" lang="en-US" sz="4800" b="1" i="0" u="none" strike="noStrike" kern="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-7620" y="4613251"/>
            <a:ext cx="12207240" cy="1785944"/>
            <a:chOff x="0" y="4613251"/>
            <a:chExt cx="12192000" cy="1783714"/>
          </a:xfrm>
        </p:grpSpPr>
        <p:sp>
          <p:nvSpPr>
            <p:cNvPr id="11" name="object 18"/>
            <p:cNvSpPr/>
            <p:nvPr userDrawn="1"/>
          </p:nvSpPr>
          <p:spPr>
            <a:xfrm>
              <a:off x="0" y="4613251"/>
              <a:ext cx="12192000" cy="1783714"/>
            </a:xfrm>
            <a:custGeom>
              <a:avLst/>
              <a:gdLst/>
              <a:ahLst/>
              <a:cxnLst/>
              <a:rect l="l" t="t" r="r" b="b"/>
              <a:pathLst>
                <a:path w="12192000" h="1783714">
                  <a:moveTo>
                    <a:pt x="0" y="1669073"/>
                  </a:moveTo>
                  <a:lnTo>
                    <a:pt x="43521" y="1675430"/>
                  </a:lnTo>
                  <a:lnTo>
                    <a:pt x="90906" y="1682117"/>
                  </a:lnTo>
                  <a:lnTo>
                    <a:pt x="138340" y="1688577"/>
                  </a:lnTo>
                  <a:lnTo>
                    <a:pt x="185821" y="1694813"/>
                  </a:lnTo>
                  <a:lnTo>
                    <a:pt x="233351" y="1700825"/>
                  </a:lnTo>
                  <a:lnTo>
                    <a:pt x="280927" y="1706615"/>
                  </a:lnTo>
                  <a:lnTo>
                    <a:pt x="328551" y="1712183"/>
                  </a:lnTo>
                  <a:lnTo>
                    <a:pt x="376220" y="1717531"/>
                  </a:lnTo>
                  <a:lnTo>
                    <a:pt x="423936" y="1722660"/>
                  </a:lnTo>
                  <a:lnTo>
                    <a:pt x="471697" y="1727571"/>
                  </a:lnTo>
                  <a:lnTo>
                    <a:pt x="519502" y="1732265"/>
                  </a:lnTo>
                  <a:lnTo>
                    <a:pt x="567352" y="1736743"/>
                  </a:lnTo>
                  <a:lnTo>
                    <a:pt x="615246" y="1741008"/>
                  </a:lnTo>
                  <a:lnTo>
                    <a:pt x="663184" y="1745059"/>
                  </a:lnTo>
                  <a:lnTo>
                    <a:pt x="711165" y="1748898"/>
                  </a:lnTo>
                  <a:lnTo>
                    <a:pt x="759188" y="1752526"/>
                  </a:lnTo>
                  <a:lnTo>
                    <a:pt x="807253" y="1755944"/>
                  </a:lnTo>
                  <a:lnTo>
                    <a:pt x="855361" y="1759154"/>
                  </a:lnTo>
                  <a:lnTo>
                    <a:pt x="903509" y="1762157"/>
                  </a:lnTo>
                  <a:lnTo>
                    <a:pt x="951698" y="1764953"/>
                  </a:lnTo>
                  <a:lnTo>
                    <a:pt x="999927" y="1767545"/>
                  </a:lnTo>
                  <a:lnTo>
                    <a:pt x="1048197" y="1769932"/>
                  </a:lnTo>
                  <a:lnTo>
                    <a:pt x="1096505" y="1772117"/>
                  </a:lnTo>
                  <a:lnTo>
                    <a:pt x="1144853" y="1774100"/>
                  </a:lnTo>
                  <a:lnTo>
                    <a:pt x="1193239" y="1775883"/>
                  </a:lnTo>
                  <a:lnTo>
                    <a:pt x="1241663" y="1777467"/>
                  </a:lnTo>
                  <a:lnTo>
                    <a:pt x="1290125" y="1778853"/>
                  </a:lnTo>
                  <a:lnTo>
                    <a:pt x="1338623" y="1780042"/>
                  </a:lnTo>
                  <a:lnTo>
                    <a:pt x="1387159" y="1781035"/>
                  </a:lnTo>
                  <a:lnTo>
                    <a:pt x="1435730" y="1781834"/>
                  </a:lnTo>
                  <a:lnTo>
                    <a:pt x="1484338" y="1782439"/>
                  </a:lnTo>
                  <a:lnTo>
                    <a:pt x="1532980" y="1782852"/>
                  </a:lnTo>
                  <a:lnTo>
                    <a:pt x="1581658" y="1783075"/>
                  </a:lnTo>
                  <a:lnTo>
                    <a:pt x="1630369" y="1783107"/>
                  </a:lnTo>
                  <a:lnTo>
                    <a:pt x="1679115" y="1782951"/>
                  </a:lnTo>
                  <a:lnTo>
                    <a:pt x="1727894" y="1782607"/>
                  </a:lnTo>
                  <a:lnTo>
                    <a:pt x="1776706" y="1782077"/>
                  </a:lnTo>
                  <a:lnTo>
                    <a:pt x="1825551" y="1781362"/>
                  </a:lnTo>
                  <a:lnTo>
                    <a:pt x="1874427" y="1780463"/>
                  </a:lnTo>
                  <a:lnTo>
                    <a:pt x="1923335" y="1779381"/>
                  </a:lnTo>
                  <a:lnTo>
                    <a:pt x="1972275" y="1778118"/>
                  </a:lnTo>
                  <a:lnTo>
                    <a:pt x="2021245" y="1776674"/>
                  </a:lnTo>
                  <a:lnTo>
                    <a:pt x="2070245" y="1775051"/>
                  </a:lnTo>
                  <a:lnTo>
                    <a:pt x="2119275" y="1773249"/>
                  </a:lnTo>
                  <a:lnTo>
                    <a:pt x="2168334" y="1771271"/>
                  </a:lnTo>
                  <a:lnTo>
                    <a:pt x="2217422" y="1769117"/>
                  </a:lnTo>
                  <a:lnTo>
                    <a:pt x="2266539" y="1766788"/>
                  </a:lnTo>
                  <a:lnTo>
                    <a:pt x="2315683" y="1764286"/>
                  </a:lnTo>
                  <a:lnTo>
                    <a:pt x="2364855" y="1761612"/>
                  </a:lnTo>
                  <a:lnTo>
                    <a:pt x="2414054" y="1758766"/>
                  </a:lnTo>
                  <a:lnTo>
                    <a:pt x="2463280" y="1755751"/>
                  </a:lnTo>
                  <a:lnTo>
                    <a:pt x="2512531" y="1752567"/>
                  </a:lnTo>
                  <a:lnTo>
                    <a:pt x="2561809" y="1749215"/>
                  </a:lnTo>
                  <a:lnTo>
                    <a:pt x="2611111" y="1745697"/>
                  </a:lnTo>
                  <a:lnTo>
                    <a:pt x="2660438" y="1742013"/>
                  </a:lnTo>
                  <a:lnTo>
                    <a:pt x="2709790" y="1738166"/>
                  </a:lnTo>
                  <a:lnTo>
                    <a:pt x="2759165" y="1734155"/>
                  </a:lnTo>
                  <a:lnTo>
                    <a:pt x="2808563" y="1729983"/>
                  </a:lnTo>
                  <a:lnTo>
                    <a:pt x="2857985" y="1725650"/>
                  </a:lnTo>
                  <a:lnTo>
                    <a:pt x="2907429" y="1721158"/>
                  </a:lnTo>
                  <a:lnTo>
                    <a:pt x="2956895" y="1716508"/>
                  </a:lnTo>
                  <a:lnTo>
                    <a:pt x="3006382" y="1711700"/>
                  </a:lnTo>
                  <a:lnTo>
                    <a:pt x="3055890" y="1706737"/>
                  </a:lnTo>
                  <a:lnTo>
                    <a:pt x="3105419" y="1701619"/>
                  </a:lnTo>
                  <a:lnTo>
                    <a:pt x="3154968" y="1696347"/>
                  </a:lnTo>
                  <a:lnTo>
                    <a:pt x="3204537" y="1690923"/>
                  </a:lnTo>
                  <a:lnTo>
                    <a:pt x="3254125" y="1685348"/>
                  </a:lnTo>
                  <a:lnTo>
                    <a:pt x="3303732" y="1679622"/>
                  </a:lnTo>
                  <a:lnTo>
                    <a:pt x="3353357" y="1673748"/>
                  </a:lnTo>
                  <a:lnTo>
                    <a:pt x="3403000" y="1667726"/>
                  </a:lnTo>
                  <a:lnTo>
                    <a:pt x="3452660" y="1661558"/>
                  </a:lnTo>
                  <a:lnTo>
                    <a:pt x="3502338" y="1655244"/>
                  </a:lnTo>
                  <a:lnTo>
                    <a:pt x="3552031" y="1648786"/>
                  </a:lnTo>
                  <a:lnTo>
                    <a:pt x="3601741" y="1642185"/>
                  </a:lnTo>
                  <a:lnTo>
                    <a:pt x="3651466" y="1635442"/>
                  </a:lnTo>
                  <a:lnTo>
                    <a:pt x="3701207" y="1628558"/>
                  </a:lnTo>
                  <a:lnTo>
                    <a:pt x="3750962" y="1621535"/>
                  </a:lnTo>
                  <a:lnTo>
                    <a:pt x="3800731" y="1614374"/>
                  </a:lnTo>
                  <a:lnTo>
                    <a:pt x="3850514" y="1607075"/>
                  </a:lnTo>
                  <a:lnTo>
                    <a:pt x="3900310" y="1599641"/>
                  </a:lnTo>
                  <a:lnTo>
                    <a:pt x="3950119" y="1592071"/>
                  </a:lnTo>
                  <a:lnTo>
                    <a:pt x="3999940" y="1584368"/>
                  </a:lnTo>
                  <a:lnTo>
                    <a:pt x="4049774" y="1576532"/>
                  </a:lnTo>
                  <a:lnTo>
                    <a:pt x="4099618" y="1568565"/>
                  </a:lnTo>
                  <a:lnTo>
                    <a:pt x="4149474" y="1560468"/>
                  </a:lnTo>
                  <a:lnTo>
                    <a:pt x="4199340" y="1552242"/>
                  </a:lnTo>
                  <a:lnTo>
                    <a:pt x="4249216" y="1543888"/>
                  </a:lnTo>
                  <a:lnTo>
                    <a:pt x="4299102" y="1535408"/>
                  </a:lnTo>
                  <a:lnTo>
                    <a:pt x="4348997" y="1526802"/>
                  </a:lnTo>
                  <a:lnTo>
                    <a:pt x="4398900" y="1518071"/>
                  </a:lnTo>
                  <a:lnTo>
                    <a:pt x="4448812" y="1509218"/>
                  </a:lnTo>
                  <a:lnTo>
                    <a:pt x="4498731" y="1500242"/>
                  </a:lnTo>
                  <a:lnTo>
                    <a:pt x="4548658" y="1491146"/>
                  </a:lnTo>
                  <a:lnTo>
                    <a:pt x="4598592" y="1481930"/>
                  </a:lnTo>
                  <a:lnTo>
                    <a:pt x="4648532" y="1472595"/>
                  </a:lnTo>
                  <a:lnTo>
                    <a:pt x="4698478" y="1463144"/>
                  </a:lnTo>
                  <a:lnTo>
                    <a:pt x="4748429" y="1453576"/>
                  </a:lnTo>
                  <a:lnTo>
                    <a:pt x="4798386" y="1443893"/>
                  </a:lnTo>
                  <a:lnTo>
                    <a:pt x="4848347" y="1434097"/>
                  </a:lnTo>
                  <a:lnTo>
                    <a:pt x="4898312" y="1424187"/>
                  </a:lnTo>
                  <a:lnTo>
                    <a:pt x="4948280" y="1414167"/>
                  </a:lnTo>
                  <a:lnTo>
                    <a:pt x="4998252" y="1404036"/>
                  </a:lnTo>
                  <a:lnTo>
                    <a:pt x="5048227" y="1393796"/>
                  </a:lnTo>
                  <a:lnTo>
                    <a:pt x="5098204" y="1383448"/>
                  </a:lnTo>
                  <a:lnTo>
                    <a:pt x="5148182" y="1372993"/>
                  </a:lnTo>
                  <a:lnTo>
                    <a:pt x="5198162" y="1362433"/>
                  </a:lnTo>
                  <a:lnTo>
                    <a:pt x="5248143" y="1351768"/>
                  </a:lnTo>
                  <a:lnTo>
                    <a:pt x="5298124" y="1341000"/>
                  </a:lnTo>
                  <a:lnTo>
                    <a:pt x="5348106" y="1330130"/>
                  </a:lnTo>
                  <a:lnTo>
                    <a:pt x="5398086" y="1319159"/>
                  </a:lnTo>
                  <a:lnTo>
                    <a:pt x="5448066" y="1308089"/>
                  </a:lnTo>
                  <a:lnTo>
                    <a:pt x="5498044" y="1296919"/>
                  </a:lnTo>
                  <a:lnTo>
                    <a:pt x="5548021" y="1285652"/>
                  </a:lnTo>
                  <a:lnTo>
                    <a:pt x="5597995" y="1274290"/>
                  </a:lnTo>
                  <a:lnTo>
                    <a:pt x="5647966" y="1262832"/>
                  </a:lnTo>
                  <a:lnTo>
                    <a:pt x="5697935" y="1251280"/>
                  </a:lnTo>
                  <a:lnTo>
                    <a:pt x="5747899" y="1239635"/>
                  </a:lnTo>
                  <a:lnTo>
                    <a:pt x="5797859" y="1227899"/>
                  </a:lnTo>
                  <a:lnTo>
                    <a:pt x="5847815" y="1216072"/>
                  </a:lnTo>
                  <a:lnTo>
                    <a:pt x="5897765" y="1204156"/>
                  </a:lnTo>
                  <a:lnTo>
                    <a:pt x="5947711" y="1192152"/>
                  </a:lnTo>
                  <a:lnTo>
                    <a:pt x="5997650" y="1180062"/>
                  </a:lnTo>
                  <a:lnTo>
                    <a:pt x="6047582" y="1167885"/>
                  </a:lnTo>
                  <a:lnTo>
                    <a:pt x="6097508" y="1155624"/>
                  </a:lnTo>
                  <a:lnTo>
                    <a:pt x="6147426" y="1143280"/>
                  </a:lnTo>
                  <a:lnTo>
                    <a:pt x="6197336" y="1130853"/>
                  </a:lnTo>
                  <a:lnTo>
                    <a:pt x="6247239" y="1118346"/>
                  </a:lnTo>
                  <a:lnTo>
                    <a:pt x="6297132" y="1105758"/>
                  </a:lnTo>
                  <a:lnTo>
                    <a:pt x="6347016" y="1093092"/>
                  </a:lnTo>
                  <a:lnTo>
                    <a:pt x="6396891" y="1080348"/>
                  </a:lnTo>
                  <a:lnTo>
                    <a:pt x="6446755" y="1067528"/>
                  </a:lnTo>
                  <a:lnTo>
                    <a:pt x="6496609" y="1054633"/>
                  </a:lnTo>
                  <a:lnTo>
                    <a:pt x="6546452" y="1041664"/>
                  </a:lnTo>
                  <a:lnTo>
                    <a:pt x="6596283" y="1028622"/>
                  </a:lnTo>
                  <a:lnTo>
                    <a:pt x="6646102" y="1015508"/>
                  </a:lnTo>
                  <a:lnTo>
                    <a:pt x="6695909" y="1002324"/>
                  </a:lnTo>
                  <a:lnTo>
                    <a:pt x="6745703" y="989070"/>
                  </a:lnTo>
                  <a:lnTo>
                    <a:pt x="6795484" y="975748"/>
                  </a:lnTo>
                  <a:lnTo>
                    <a:pt x="6845251" y="962360"/>
                  </a:lnTo>
                  <a:lnTo>
                    <a:pt x="6895004" y="948905"/>
                  </a:lnTo>
                  <a:lnTo>
                    <a:pt x="6944742" y="935386"/>
                  </a:lnTo>
                  <a:lnTo>
                    <a:pt x="6994464" y="921803"/>
                  </a:lnTo>
                  <a:lnTo>
                    <a:pt x="7044171" y="908158"/>
                  </a:lnTo>
                  <a:lnTo>
                    <a:pt x="7093863" y="894452"/>
                  </a:lnTo>
                  <a:lnTo>
                    <a:pt x="7143537" y="880686"/>
                  </a:lnTo>
                  <a:lnTo>
                    <a:pt x="7193195" y="866861"/>
                  </a:lnTo>
                  <a:lnTo>
                    <a:pt x="7242835" y="852978"/>
                  </a:lnTo>
                  <a:lnTo>
                    <a:pt x="7292457" y="839039"/>
                  </a:lnTo>
                  <a:lnTo>
                    <a:pt x="7342061" y="825045"/>
                  </a:lnTo>
                  <a:lnTo>
                    <a:pt x="7391646" y="810996"/>
                  </a:lnTo>
                  <a:lnTo>
                    <a:pt x="7441211" y="796895"/>
                  </a:lnTo>
                  <a:lnTo>
                    <a:pt x="7490757" y="782742"/>
                  </a:lnTo>
                  <a:lnTo>
                    <a:pt x="7540283" y="768538"/>
                  </a:lnTo>
                  <a:lnTo>
                    <a:pt x="7589788" y="754284"/>
                  </a:lnTo>
                  <a:lnTo>
                    <a:pt x="7639272" y="739983"/>
                  </a:lnTo>
                  <a:lnTo>
                    <a:pt x="7688734" y="725634"/>
                  </a:lnTo>
                  <a:lnTo>
                    <a:pt x="7738174" y="711239"/>
                  </a:lnTo>
                  <a:lnTo>
                    <a:pt x="7787592" y="696800"/>
                  </a:lnTo>
                  <a:lnTo>
                    <a:pt x="7836987" y="682317"/>
                  </a:lnTo>
                  <a:lnTo>
                    <a:pt x="7886358" y="667792"/>
                  </a:lnTo>
                  <a:lnTo>
                    <a:pt x="7935706" y="653225"/>
                  </a:lnTo>
                  <a:lnTo>
                    <a:pt x="7985029" y="638618"/>
                  </a:lnTo>
                  <a:lnTo>
                    <a:pt x="8034327" y="623972"/>
                  </a:lnTo>
                  <a:lnTo>
                    <a:pt x="8083600" y="609289"/>
                  </a:lnTo>
                  <a:lnTo>
                    <a:pt x="8132848" y="594569"/>
                  </a:lnTo>
                  <a:lnTo>
                    <a:pt x="8182069" y="579813"/>
                  </a:lnTo>
                  <a:lnTo>
                    <a:pt x="8231263" y="565024"/>
                  </a:lnTo>
                  <a:lnTo>
                    <a:pt x="8280431" y="550201"/>
                  </a:lnTo>
                  <a:lnTo>
                    <a:pt x="8329571" y="535346"/>
                  </a:lnTo>
                  <a:lnTo>
                    <a:pt x="8378683" y="520461"/>
                  </a:lnTo>
                  <a:lnTo>
                    <a:pt x="8427766" y="505546"/>
                  </a:lnTo>
                  <a:lnTo>
                    <a:pt x="8476821" y="490603"/>
                  </a:lnTo>
                  <a:lnTo>
                    <a:pt x="8525846" y="475632"/>
                  </a:lnTo>
                  <a:lnTo>
                    <a:pt x="8574841" y="460635"/>
                  </a:lnTo>
                  <a:lnTo>
                    <a:pt x="8623806" y="445614"/>
                  </a:lnTo>
                  <a:lnTo>
                    <a:pt x="8672741" y="430569"/>
                  </a:lnTo>
                  <a:lnTo>
                    <a:pt x="8731141" y="412776"/>
                  </a:lnTo>
                  <a:lnTo>
                    <a:pt x="8789473" y="395387"/>
                  </a:lnTo>
                  <a:lnTo>
                    <a:pt x="8847732" y="378399"/>
                  </a:lnTo>
                  <a:lnTo>
                    <a:pt x="8905911" y="361811"/>
                  </a:lnTo>
                  <a:lnTo>
                    <a:pt x="8964005" y="345621"/>
                  </a:lnTo>
                  <a:lnTo>
                    <a:pt x="9022009" y="329826"/>
                  </a:lnTo>
                  <a:lnTo>
                    <a:pt x="9079917" y="314426"/>
                  </a:lnTo>
                  <a:lnTo>
                    <a:pt x="9137723" y="299418"/>
                  </a:lnTo>
                  <a:lnTo>
                    <a:pt x="9195422" y="284801"/>
                  </a:lnTo>
                  <a:lnTo>
                    <a:pt x="9253009" y="270573"/>
                  </a:lnTo>
                  <a:lnTo>
                    <a:pt x="9310478" y="256732"/>
                  </a:lnTo>
                  <a:lnTo>
                    <a:pt x="9367823" y="243276"/>
                  </a:lnTo>
                  <a:lnTo>
                    <a:pt x="9425039" y="230204"/>
                  </a:lnTo>
                  <a:lnTo>
                    <a:pt x="9482120" y="217514"/>
                  </a:lnTo>
                  <a:lnTo>
                    <a:pt x="9539061" y="205204"/>
                  </a:lnTo>
                  <a:lnTo>
                    <a:pt x="9595857" y="193272"/>
                  </a:lnTo>
                  <a:lnTo>
                    <a:pt x="9652501" y="181716"/>
                  </a:lnTo>
                  <a:lnTo>
                    <a:pt x="9708989" y="170535"/>
                  </a:lnTo>
                  <a:lnTo>
                    <a:pt x="9765314" y="159728"/>
                  </a:lnTo>
                  <a:lnTo>
                    <a:pt x="9821471" y="149291"/>
                  </a:lnTo>
                  <a:lnTo>
                    <a:pt x="9877455" y="139224"/>
                  </a:lnTo>
                  <a:lnTo>
                    <a:pt x="9933260" y="129524"/>
                  </a:lnTo>
                  <a:lnTo>
                    <a:pt x="9988881" y="120191"/>
                  </a:lnTo>
                  <a:lnTo>
                    <a:pt x="10044312" y="111221"/>
                  </a:lnTo>
                  <a:lnTo>
                    <a:pt x="10099547" y="102614"/>
                  </a:lnTo>
                  <a:lnTo>
                    <a:pt x="10154581" y="94367"/>
                  </a:lnTo>
                  <a:lnTo>
                    <a:pt x="10209409" y="86479"/>
                  </a:lnTo>
                  <a:lnTo>
                    <a:pt x="10264024" y="78948"/>
                  </a:lnTo>
                  <a:lnTo>
                    <a:pt x="10318422" y="71772"/>
                  </a:lnTo>
                  <a:lnTo>
                    <a:pt x="10372597" y="64950"/>
                  </a:lnTo>
                  <a:lnTo>
                    <a:pt x="10426544" y="58479"/>
                  </a:lnTo>
                  <a:lnTo>
                    <a:pt x="10480256" y="52359"/>
                  </a:lnTo>
                  <a:lnTo>
                    <a:pt x="10533728" y="46586"/>
                  </a:lnTo>
                  <a:lnTo>
                    <a:pt x="10586955" y="41160"/>
                  </a:lnTo>
                  <a:lnTo>
                    <a:pt x="10639932" y="36078"/>
                  </a:lnTo>
                  <a:lnTo>
                    <a:pt x="10692652" y="31340"/>
                  </a:lnTo>
                  <a:lnTo>
                    <a:pt x="10745110" y="26942"/>
                  </a:lnTo>
                  <a:lnTo>
                    <a:pt x="10797301" y="22883"/>
                  </a:lnTo>
                  <a:lnTo>
                    <a:pt x="10849219" y="19162"/>
                  </a:lnTo>
                  <a:lnTo>
                    <a:pt x="10900859" y="15777"/>
                  </a:lnTo>
                  <a:lnTo>
                    <a:pt x="10952214" y="12726"/>
                  </a:lnTo>
                  <a:lnTo>
                    <a:pt x="11003281" y="10007"/>
                  </a:lnTo>
                  <a:lnTo>
                    <a:pt x="11054052" y="7618"/>
                  </a:lnTo>
                  <a:lnTo>
                    <a:pt x="11104522" y="5558"/>
                  </a:lnTo>
                  <a:lnTo>
                    <a:pt x="11154687" y="3825"/>
                  </a:lnTo>
                  <a:lnTo>
                    <a:pt x="11204540" y="2417"/>
                  </a:lnTo>
                  <a:lnTo>
                    <a:pt x="11254076" y="1332"/>
                  </a:lnTo>
                  <a:lnTo>
                    <a:pt x="11303289" y="569"/>
                  </a:lnTo>
                  <a:lnTo>
                    <a:pt x="11352174" y="125"/>
                  </a:lnTo>
                  <a:lnTo>
                    <a:pt x="11400726" y="0"/>
                  </a:lnTo>
                  <a:lnTo>
                    <a:pt x="11448938" y="190"/>
                  </a:lnTo>
                  <a:lnTo>
                    <a:pt x="11496805" y="695"/>
                  </a:lnTo>
                  <a:lnTo>
                    <a:pt x="11544322" y="1513"/>
                  </a:lnTo>
                  <a:lnTo>
                    <a:pt x="11591483" y="2642"/>
                  </a:lnTo>
                  <a:lnTo>
                    <a:pt x="11638283" y="4080"/>
                  </a:lnTo>
                  <a:lnTo>
                    <a:pt x="11684716" y="5825"/>
                  </a:lnTo>
                  <a:lnTo>
                    <a:pt x="11730777" y="7876"/>
                  </a:lnTo>
                  <a:lnTo>
                    <a:pt x="11776460" y="10231"/>
                  </a:lnTo>
                  <a:lnTo>
                    <a:pt x="11821759" y="12887"/>
                  </a:lnTo>
                  <a:lnTo>
                    <a:pt x="11866669" y="15844"/>
                  </a:lnTo>
                  <a:lnTo>
                    <a:pt x="11911185" y="19100"/>
                  </a:lnTo>
                  <a:lnTo>
                    <a:pt x="11955300" y="22652"/>
                  </a:lnTo>
                  <a:lnTo>
                    <a:pt x="11999010" y="26499"/>
                  </a:lnTo>
                  <a:lnTo>
                    <a:pt x="12042309" y="30639"/>
                  </a:lnTo>
                  <a:lnTo>
                    <a:pt x="12085191" y="35071"/>
                  </a:lnTo>
                  <a:lnTo>
                    <a:pt x="12127651" y="39792"/>
                  </a:lnTo>
                  <a:lnTo>
                    <a:pt x="12169684" y="44801"/>
                  </a:lnTo>
                  <a:lnTo>
                    <a:pt x="12192000" y="47642"/>
                  </a:lnTo>
                </a:path>
              </a:pathLst>
            </a:custGeom>
            <a:ln w="25400">
              <a:solidFill>
                <a:srgbClr val="DA1E4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9"/>
            <p:cNvSpPr/>
            <p:nvPr userDrawn="1"/>
          </p:nvSpPr>
          <p:spPr>
            <a:xfrm>
              <a:off x="0" y="5047558"/>
              <a:ext cx="12192000" cy="1029969"/>
            </a:xfrm>
            <a:custGeom>
              <a:avLst/>
              <a:gdLst/>
              <a:ahLst/>
              <a:cxnLst/>
              <a:rect l="l" t="t" r="r" b="b"/>
              <a:pathLst>
                <a:path w="12192000" h="1029970">
                  <a:moveTo>
                    <a:pt x="12192000" y="68478"/>
                  </a:moveTo>
                  <a:lnTo>
                    <a:pt x="12140152" y="60680"/>
                  </a:lnTo>
                  <a:lnTo>
                    <a:pt x="12100389" y="55127"/>
                  </a:lnTo>
                  <a:lnTo>
                    <a:pt x="12060079" y="49836"/>
                  </a:lnTo>
                  <a:lnTo>
                    <a:pt x="12019228" y="44806"/>
                  </a:lnTo>
                  <a:lnTo>
                    <a:pt x="11977843" y="40039"/>
                  </a:lnTo>
                  <a:lnTo>
                    <a:pt x="11935931" y="35535"/>
                  </a:lnTo>
                  <a:lnTo>
                    <a:pt x="11893498" y="31296"/>
                  </a:lnTo>
                  <a:lnTo>
                    <a:pt x="11850553" y="27322"/>
                  </a:lnTo>
                  <a:lnTo>
                    <a:pt x="11807101" y="23614"/>
                  </a:lnTo>
                  <a:lnTo>
                    <a:pt x="11763149" y="20173"/>
                  </a:lnTo>
                  <a:lnTo>
                    <a:pt x="11718704" y="16999"/>
                  </a:lnTo>
                  <a:lnTo>
                    <a:pt x="11673773" y="14094"/>
                  </a:lnTo>
                  <a:lnTo>
                    <a:pt x="11628363" y="11458"/>
                  </a:lnTo>
                  <a:lnTo>
                    <a:pt x="11582481" y="9093"/>
                  </a:lnTo>
                  <a:lnTo>
                    <a:pt x="11536134" y="6999"/>
                  </a:lnTo>
                  <a:lnTo>
                    <a:pt x="11489327" y="5176"/>
                  </a:lnTo>
                  <a:lnTo>
                    <a:pt x="11442069" y="3627"/>
                  </a:lnTo>
                  <a:lnTo>
                    <a:pt x="11394366" y="2351"/>
                  </a:lnTo>
                  <a:lnTo>
                    <a:pt x="11346225" y="1349"/>
                  </a:lnTo>
                  <a:lnTo>
                    <a:pt x="11297653" y="623"/>
                  </a:lnTo>
                  <a:lnTo>
                    <a:pt x="11248656" y="173"/>
                  </a:lnTo>
                  <a:lnTo>
                    <a:pt x="11199242" y="0"/>
                  </a:lnTo>
                  <a:lnTo>
                    <a:pt x="11149417" y="104"/>
                  </a:lnTo>
                  <a:lnTo>
                    <a:pt x="11099188" y="488"/>
                  </a:lnTo>
                  <a:lnTo>
                    <a:pt x="11048563" y="1150"/>
                  </a:lnTo>
                  <a:lnTo>
                    <a:pt x="10997547" y="2094"/>
                  </a:lnTo>
                  <a:lnTo>
                    <a:pt x="10946148" y="3318"/>
                  </a:lnTo>
                  <a:lnTo>
                    <a:pt x="10894372" y="4825"/>
                  </a:lnTo>
                  <a:lnTo>
                    <a:pt x="10842227" y="6614"/>
                  </a:lnTo>
                  <a:lnTo>
                    <a:pt x="10789719" y="8687"/>
                  </a:lnTo>
                  <a:lnTo>
                    <a:pt x="10736855" y="11045"/>
                  </a:lnTo>
                  <a:lnTo>
                    <a:pt x="10683641" y="13688"/>
                  </a:lnTo>
                  <a:lnTo>
                    <a:pt x="10630086" y="16617"/>
                  </a:lnTo>
                  <a:lnTo>
                    <a:pt x="10576195" y="19834"/>
                  </a:lnTo>
                  <a:lnTo>
                    <a:pt x="10521976" y="23338"/>
                  </a:lnTo>
                  <a:lnTo>
                    <a:pt x="10467435" y="27131"/>
                  </a:lnTo>
                  <a:lnTo>
                    <a:pt x="10412579" y="31214"/>
                  </a:lnTo>
                  <a:lnTo>
                    <a:pt x="10357416" y="35588"/>
                  </a:lnTo>
                  <a:lnTo>
                    <a:pt x="10301951" y="40253"/>
                  </a:lnTo>
                  <a:lnTo>
                    <a:pt x="10246191" y="45209"/>
                  </a:lnTo>
                  <a:lnTo>
                    <a:pt x="10190145" y="50459"/>
                  </a:lnTo>
                  <a:lnTo>
                    <a:pt x="10133817" y="56003"/>
                  </a:lnTo>
                  <a:lnTo>
                    <a:pt x="10077216" y="61842"/>
                  </a:lnTo>
                  <a:lnTo>
                    <a:pt x="10020348" y="67976"/>
                  </a:lnTo>
                  <a:lnTo>
                    <a:pt x="9963220" y="74406"/>
                  </a:lnTo>
                  <a:lnTo>
                    <a:pt x="9905838" y="81134"/>
                  </a:lnTo>
                  <a:lnTo>
                    <a:pt x="9848211" y="88160"/>
                  </a:lnTo>
                  <a:lnTo>
                    <a:pt x="9790343" y="95485"/>
                  </a:lnTo>
                  <a:lnTo>
                    <a:pt x="9732243" y="103109"/>
                  </a:lnTo>
                  <a:lnTo>
                    <a:pt x="9673917" y="111034"/>
                  </a:lnTo>
                  <a:lnTo>
                    <a:pt x="9615372" y="119261"/>
                  </a:lnTo>
                  <a:lnTo>
                    <a:pt x="9556615" y="127790"/>
                  </a:lnTo>
                  <a:lnTo>
                    <a:pt x="9497653" y="136622"/>
                  </a:lnTo>
                  <a:lnTo>
                    <a:pt x="9438492" y="145758"/>
                  </a:lnTo>
                  <a:lnTo>
                    <a:pt x="9379139" y="155199"/>
                  </a:lnTo>
                  <a:lnTo>
                    <a:pt x="9319602" y="164946"/>
                  </a:lnTo>
                  <a:lnTo>
                    <a:pt x="9259887" y="174999"/>
                  </a:lnTo>
                  <a:lnTo>
                    <a:pt x="9200000" y="185359"/>
                  </a:lnTo>
                  <a:lnTo>
                    <a:pt x="9139950" y="196028"/>
                  </a:lnTo>
                  <a:lnTo>
                    <a:pt x="9079742" y="207006"/>
                  </a:lnTo>
                  <a:lnTo>
                    <a:pt x="9019383" y="218294"/>
                  </a:lnTo>
                  <a:lnTo>
                    <a:pt x="8958881" y="229892"/>
                  </a:lnTo>
                  <a:lnTo>
                    <a:pt x="8898242" y="241802"/>
                  </a:lnTo>
                  <a:lnTo>
                    <a:pt x="8837473" y="254025"/>
                  </a:lnTo>
                  <a:lnTo>
                    <a:pt x="8776581" y="266561"/>
                  </a:lnTo>
                  <a:lnTo>
                    <a:pt x="8730075" y="276234"/>
                  </a:lnTo>
                  <a:lnTo>
                    <a:pt x="8683456" y="285898"/>
                  </a:lnTo>
                  <a:lnTo>
                    <a:pt x="8636725" y="295551"/>
                  </a:lnTo>
                  <a:lnTo>
                    <a:pt x="8589883" y="305193"/>
                  </a:lnTo>
                  <a:lnTo>
                    <a:pt x="8542932" y="314822"/>
                  </a:lnTo>
                  <a:lnTo>
                    <a:pt x="8495874" y="324437"/>
                  </a:lnTo>
                  <a:lnTo>
                    <a:pt x="8448708" y="334036"/>
                  </a:lnTo>
                  <a:lnTo>
                    <a:pt x="8401438" y="343619"/>
                  </a:lnTo>
                  <a:lnTo>
                    <a:pt x="8354063" y="353184"/>
                  </a:lnTo>
                  <a:lnTo>
                    <a:pt x="8306585" y="362731"/>
                  </a:lnTo>
                  <a:lnTo>
                    <a:pt x="8259006" y="372257"/>
                  </a:lnTo>
                  <a:lnTo>
                    <a:pt x="8211326" y="381763"/>
                  </a:lnTo>
                  <a:lnTo>
                    <a:pt x="8163548" y="391246"/>
                  </a:lnTo>
                  <a:lnTo>
                    <a:pt x="8115671" y="400706"/>
                  </a:lnTo>
                  <a:lnTo>
                    <a:pt x="8067699" y="410141"/>
                  </a:lnTo>
                  <a:lnTo>
                    <a:pt x="8019631" y="419550"/>
                  </a:lnTo>
                  <a:lnTo>
                    <a:pt x="7971470" y="428932"/>
                  </a:lnTo>
                  <a:lnTo>
                    <a:pt x="7923216" y="438285"/>
                  </a:lnTo>
                  <a:lnTo>
                    <a:pt x="7874870" y="447610"/>
                  </a:lnTo>
                  <a:lnTo>
                    <a:pt x="7826435" y="456904"/>
                  </a:lnTo>
                  <a:lnTo>
                    <a:pt x="7777911" y="466166"/>
                  </a:lnTo>
                  <a:lnTo>
                    <a:pt x="7729300" y="475395"/>
                  </a:lnTo>
                  <a:lnTo>
                    <a:pt x="7680602" y="484590"/>
                  </a:lnTo>
                  <a:lnTo>
                    <a:pt x="7631820" y="493750"/>
                  </a:lnTo>
                  <a:lnTo>
                    <a:pt x="7582954" y="502873"/>
                  </a:lnTo>
                  <a:lnTo>
                    <a:pt x="7534006" y="511958"/>
                  </a:lnTo>
                  <a:lnTo>
                    <a:pt x="7484977" y="521005"/>
                  </a:lnTo>
                  <a:lnTo>
                    <a:pt x="7435868" y="530012"/>
                  </a:lnTo>
                  <a:lnTo>
                    <a:pt x="7386681" y="538978"/>
                  </a:lnTo>
                  <a:lnTo>
                    <a:pt x="7337417" y="547901"/>
                  </a:lnTo>
                  <a:lnTo>
                    <a:pt x="7288077" y="556781"/>
                  </a:lnTo>
                  <a:lnTo>
                    <a:pt x="7238662" y="565616"/>
                  </a:lnTo>
                  <a:lnTo>
                    <a:pt x="7189175" y="574405"/>
                  </a:lnTo>
                  <a:lnTo>
                    <a:pt x="7139615" y="583147"/>
                  </a:lnTo>
                  <a:lnTo>
                    <a:pt x="7089984" y="591840"/>
                  </a:lnTo>
                  <a:lnTo>
                    <a:pt x="7040285" y="600485"/>
                  </a:lnTo>
                  <a:lnTo>
                    <a:pt x="6990517" y="609078"/>
                  </a:lnTo>
                  <a:lnTo>
                    <a:pt x="6940682" y="617620"/>
                  </a:lnTo>
                  <a:lnTo>
                    <a:pt x="6890782" y="626109"/>
                  </a:lnTo>
                  <a:lnTo>
                    <a:pt x="6840817" y="634544"/>
                  </a:lnTo>
                  <a:lnTo>
                    <a:pt x="6790790" y="642924"/>
                  </a:lnTo>
                  <a:lnTo>
                    <a:pt x="6740701" y="651247"/>
                  </a:lnTo>
                  <a:lnTo>
                    <a:pt x="6690551" y="659512"/>
                  </a:lnTo>
                  <a:lnTo>
                    <a:pt x="6640343" y="667719"/>
                  </a:lnTo>
                  <a:lnTo>
                    <a:pt x="6590076" y="675865"/>
                  </a:lnTo>
                  <a:lnTo>
                    <a:pt x="6539753" y="683950"/>
                  </a:lnTo>
                  <a:lnTo>
                    <a:pt x="6489375" y="691973"/>
                  </a:lnTo>
                  <a:lnTo>
                    <a:pt x="6438943" y="699932"/>
                  </a:lnTo>
                  <a:lnTo>
                    <a:pt x="6388458" y="707827"/>
                  </a:lnTo>
                  <a:lnTo>
                    <a:pt x="6337922" y="715655"/>
                  </a:lnTo>
                  <a:lnTo>
                    <a:pt x="6287336" y="723417"/>
                  </a:lnTo>
                  <a:lnTo>
                    <a:pt x="6236701" y="731110"/>
                  </a:lnTo>
                  <a:lnTo>
                    <a:pt x="6186019" y="738734"/>
                  </a:lnTo>
                  <a:lnTo>
                    <a:pt x="6135290" y="746287"/>
                  </a:lnTo>
                  <a:lnTo>
                    <a:pt x="6084516" y="753768"/>
                  </a:lnTo>
                  <a:lnTo>
                    <a:pt x="6033699" y="761177"/>
                  </a:lnTo>
                  <a:lnTo>
                    <a:pt x="5982839" y="768511"/>
                  </a:lnTo>
                  <a:lnTo>
                    <a:pt x="5931938" y="775769"/>
                  </a:lnTo>
                  <a:lnTo>
                    <a:pt x="5880998" y="782952"/>
                  </a:lnTo>
                  <a:lnTo>
                    <a:pt x="5830019" y="790056"/>
                  </a:lnTo>
                  <a:lnTo>
                    <a:pt x="5779002" y="797082"/>
                  </a:lnTo>
                  <a:lnTo>
                    <a:pt x="5727950" y="804027"/>
                  </a:lnTo>
                  <a:lnTo>
                    <a:pt x="5676863" y="810892"/>
                  </a:lnTo>
                  <a:lnTo>
                    <a:pt x="5625743" y="817674"/>
                  </a:lnTo>
                  <a:lnTo>
                    <a:pt x="5574591" y="824372"/>
                  </a:lnTo>
                  <a:lnTo>
                    <a:pt x="5523407" y="830986"/>
                  </a:lnTo>
                  <a:lnTo>
                    <a:pt x="5472195" y="837513"/>
                  </a:lnTo>
                  <a:lnTo>
                    <a:pt x="5420954" y="843954"/>
                  </a:lnTo>
                  <a:lnTo>
                    <a:pt x="5369686" y="850306"/>
                  </a:lnTo>
                  <a:lnTo>
                    <a:pt x="5318393" y="856568"/>
                  </a:lnTo>
                  <a:lnTo>
                    <a:pt x="5267075" y="862740"/>
                  </a:lnTo>
                  <a:lnTo>
                    <a:pt x="5215734" y="868820"/>
                  </a:lnTo>
                  <a:lnTo>
                    <a:pt x="5164371" y="874807"/>
                  </a:lnTo>
                  <a:lnTo>
                    <a:pt x="5112988" y="880700"/>
                  </a:lnTo>
                  <a:lnTo>
                    <a:pt x="5061586" y="886498"/>
                  </a:lnTo>
                  <a:lnTo>
                    <a:pt x="5010165" y="892199"/>
                  </a:lnTo>
                  <a:lnTo>
                    <a:pt x="4958728" y="897802"/>
                  </a:lnTo>
                  <a:lnTo>
                    <a:pt x="4907276" y="903306"/>
                  </a:lnTo>
                  <a:lnTo>
                    <a:pt x="4855810" y="908710"/>
                  </a:lnTo>
                  <a:lnTo>
                    <a:pt x="4804331" y="914013"/>
                  </a:lnTo>
                  <a:lnTo>
                    <a:pt x="4752840" y="919214"/>
                  </a:lnTo>
                  <a:lnTo>
                    <a:pt x="4701339" y="924311"/>
                  </a:lnTo>
                  <a:lnTo>
                    <a:pt x="4649829" y="929303"/>
                  </a:lnTo>
                  <a:lnTo>
                    <a:pt x="4598312" y="934189"/>
                  </a:lnTo>
                  <a:lnTo>
                    <a:pt x="4546788" y="938968"/>
                  </a:lnTo>
                  <a:lnTo>
                    <a:pt x="4495259" y="943638"/>
                  </a:lnTo>
                  <a:lnTo>
                    <a:pt x="4443726" y="948199"/>
                  </a:lnTo>
                  <a:lnTo>
                    <a:pt x="4392191" y="952649"/>
                  </a:lnTo>
                  <a:lnTo>
                    <a:pt x="4340655" y="956988"/>
                  </a:lnTo>
                  <a:lnTo>
                    <a:pt x="4289119" y="961213"/>
                  </a:lnTo>
                  <a:lnTo>
                    <a:pt x="4237584" y="965324"/>
                  </a:lnTo>
                  <a:lnTo>
                    <a:pt x="4186052" y="969320"/>
                  </a:lnTo>
                  <a:lnTo>
                    <a:pt x="4134523" y="973199"/>
                  </a:lnTo>
                  <a:lnTo>
                    <a:pt x="4083000" y="976961"/>
                  </a:lnTo>
                  <a:lnTo>
                    <a:pt x="4031484" y="980603"/>
                  </a:lnTo>
                  <a:lnTo>
                    <a:pt x="3979975" y="984125"/>
                  </a:lnTo>
                  <a:lnTo>
                    <a:pt x="3928475" y="987526"/>
                  </a:lnTo>
                  <a:lnTo>
                    <a:pt x="3876986" y="990805"/>
                  </a:lnTo>
                  <a:lnTo>
                    <a:pt x="3825508" y="993960"/>
                  </a:lnTo>
                  <a:lnTo>
                    <a:pt x="3774044" y="996990"/>
                  </a:lnTo>
                  <a:lnTo>
                    <a:pt x="3722593" y="999894"/>
                  </a:lnTo>
                  <a:lnTo>
                    <a:pt x="3671158" y="1002670"/>
                  </a:lnTo>
                  <a:lnTo>
                    <a:pt x="3619740" y="1005319"/>
                  </a:lnTo>
                  <a:lnTo>
                    <a:pt x="3568340" y="1007838"/>
                  </a:lnTo>
                  <a:lnTo>
                    <a:pt x="3516960" y="1010226"/>
                  </a:lnTo>
                  <a:lnTo>
                    <a:pt x="3465600" y="1012482"/>
                  </a:lnTo>
                  <a:lnTo>
                    <a:pt x="3414262" y="1014605"/>
                  </a:lnTo>
                  <a:lnTo>
                    <a:pt x="3362947" y="1016594"/>
                  </a:lnTo>
                  <a:lnTo>
                    <a:pt x="3311656" y="1018447"/>
                  </a:lnTo>
                  <a:lnTo>
                    <a:pt x="3260392" y="1020164"/>
                  </a:lnTo>
                  <a:lnTo>
                    <a:pt x="3209155" y="1021743"/>
                  </a:lnTo>
                  <a:lnTo>
                    <a:pt x="3157946" y="1023183"/>
                  </a:lnTo>
                  <a:lnTo>
                    <a:pt x="3106766" y="1024483"/>
                  </a:lnTo>
                  <a:lnTo>
                    <a:pt x="3055618" y="1025642"/>
                  </a:lnTo>
                  <a:lnTo>
                    <a:pt x="3004502" y="1026658"/>
                  </a:lnTo>
                  <a:lnTo>
                    <a:pt x="2953419" y="1027530"/>
                  </a:lnTo>
                  <a:lnTo>
                    <a:pt x="2902371" y="1028257"/>
                  </a:lnTo>
                  <a:lnTo>
                    <a:pt x="2851360" y="1028839"/>
                  </a:lnTo>
                  <a:lnTo>
                    <a:pt x="2800385" y="1029273"/>
                  </a:lnTo>
                  <a:lnTo>
                    <a:pt x="2749450" y="1029559"/>
                  </a:lnTo>
                  <a:lnTo>
                    <a:pt x="2698554" y="1029695"/>
                  </a:lnTo>
                  <a:lnTo>
                    <a:pt x="2647700" y="1029680"/>
                  </a:lnTo>
                  <a:lnTo>
                    <a:pt x="2596888" y="1029514"/>
                  </a:lnTo>
                  <a:lnTo>
                    <a:pt x="2546120" y="1029194"/>
                  </a:lnTo>
                  <a:lnTo>
                    <a:pt x="2495397" y="1028720"/>
                  </a:lnTo>
                  <a:lnTo>
                    <a:pt x="2444720" y="1028091"/>
                  </a:lnTo>
                  <a:lnTo>
                    <a:pt x="2394091" y="1027305"/>
                  </a:lnTo>
                  <a:lnTo>
                    <a:pt x="2343511" y="1026361"/>
                  </a:lnTo>
                  <a:lnTo>
                    <a:pt x="2292981" y="1025258"/>
                  </a:lnTo>
                  <a:lnTo>
                    <a:pt x="2242503" y="1023995"/>
                  </a:lnTo>
                  <a:lnTo>
                    <a:pt x="2192078" y="1022570"/>
                  </a:lnTo>
                  <a:lnTo>
                    <a:pt x="2141707" y="1020983"/>
                  </a:lnTo>
                  <a:lnTo>
                    <a:pt x="2091391" y="1019233"/>
                  </a:lnTo>
                  <a:lnTo>
                    <a:pt x="2041132" y="1017317"/>
                  </a:lnTo>
                  <a:lnTo>
                    <a:pt x="1990931" y="1015235"/>
                  </a:lnTo>
                  <a:lnTo>
                    <a:pt x="1940789" y="1012986"/>
                  </a:lnTo>
                  <a:lnTo>
                    <a:pt x="1890707" y="1010569"/>
                  </a:lnTo>
                  <a:lnTo>
                    <a:pt x="1840688" y="1007982"/>
                  </a:lnTo>
                  <a:lnTo>
                    <a:pt x="1790731" y="1005224"/>
                  </a:lnTo>
                  <a:lnTo>
                    <a:pt x="1740839" y="1002295"/>
                  </a:lnTo>
                  <a:lnTo>
                    <a:pt x="1691013" y="999192"/>
                  </a:lnTo>
                  <a:lnTo>
                    <a:pt x="1641254" y="995914"/>
                  </a:lnTo>
                  <a:lnTo>
                    <a:pt x="1591562" y="992462"/>
                  </a:lnTo>
                  <a:lnTo>
                    <a:pt x="1541941" y="988832"/>
                  </a:lnTo>
                  <a:lnTo>
                    <a:pt x="1492390" y="985025"/>
                  </a:lnTo>
                  <a:lnTo>
                    <a:pt x="1442911" y="981039"/>
                  </a:lnTo>
                  <a:lnTo>
                    <a:pt x="1393506" y="976872"/>
                  </a:lnTo>
                  <a:lnTo>
                    <a:pt x="1344176" y="972524"/>
                  </a:lnTo>
                  <a:lnTo>
                    <a:pt x="1294921" y="967993"/>
                  </a:lnTo>
                  <a:lnTo>
                    <a:pt x="1245744" y="963279"/>
                  </a:lnTo>
                  <a:lnTo>
                    <a:pt x="1196645" y="958380"/>
                  </a:lnTo>
                  <a:lnTo>
                    <a:pt x="1147626" y="953295"/>
                  </a:lnTo>
                  <a:lnTo>
                    <a:pt x="1098689" y="948022"/>
                  </a:lnTo>
                  <a:lnTo>
                    <a:pt x="1049833" y="942561"/>
                  </a:lnTo>
                  <a:lnTo>
                    <a:pt x="1001062" y="936910"/>
                  </a:lnTo>
                  <a:lnTo>
                    <a:pt x="952375" y="931069"/>
                  </a:lnTo>
                  <a:lnTo>
                    <a:pt x="903774" y="925035"/>
                  </a:lnTo>
                  <a:lnTo>
                    <a:pt x="855262" y="918808"/>
                  </a:lnTo>
                  <a:lnTo>
                    <a:pt x="806838" y="912387"/>
                  </a:lnTo>
                  <a:lnTo>
                    <a:pt x="758504" y="905771"/>
                  </a:lnTo>
                  <a:lnTo>
                    <a:pt x="710261" y="898957"/>
                  </a:lnTo>
                  <a:lnTo>
                    <a:pt x="662111" y="891946"/>
                  </a:lnTo>
                  <a:lnTo>
                    <a:pt x="614056" y="884736"/>
                  </a:lnTo>
                  <a:lnTo>
                    <a:pt x="566095" y="877325"/>
                  </a:lnTo>
                  <a:lnTo>
                    <a:pt x="518231" y="869713"/>
                  </a:lnTo>
                  <a:lnTo>
                    <a:pt x="470465" y="861899"/>
                  </a:lnTo>
                  <a:lnTo>
                    <a:pt x="422798" y="853880"/>
                  </a:lnTo>
                  <a:lnTo>
                    <a:pt x="375232" y="845657"/>
                  </a:lnTo>
                  <a:lnTo>
                    <a:pt x="327767" y="837228"/>
                  </a:lnTo>
                  <a:lnTo>
                    <a:pt x="280405" y="828591"/>
                  </a:lnTo>
                  <a:lnTo>
                    <a:pt x="233147" y="819746"/>
                  </a:lnTo>
                  <a:lnTo>
                    <a:pt x="185995" y="810691"/>
                  </a:lnTo>
                  <a:lnTo>
                    <a:pt x="138950" y="801425"/>
                  </a:lnTo>
                  <a:lnTo>
                    <a:pt x="92013" y="791947"/>
                  </a:lnTo>
                  <a:lnTo>
                    <a:pt x="45186" y="782256"/>
                  </a:lnTo>
                  <a:lnTo>
                    <a:pt x="0" y="772675"/>
                  </a:lnTo>
                </a:path>
              </a:pathLst>
            </a:custGeom>
            <a:ln w="25400">
              <a:solidFill>
                <a:srgbClr val="93959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68450" y="4321628"/>
            <a:ext cx="5626100" cy="106362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614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95313" y="2792951"/>
            <a:ext cx="9809213" cy="632636"/>
          </a:xfrm>
        </p:spPr>
        <p:txBody>
          <a:bodyPr bIns="0" anchor="b" anchorCtr="0">
            <a:noAutofit/>
          </a:bodyPr>
          <a:lstStyle>
            <a:lvl1pPr algn="l">
              <a:lnSpc>
                <a:spcPct val="83000"/>
              </a:lnSpc>
              <a:defRPr kumimoji="0" lang="en-US" sz="4800" b="0" i="0" u="none" strike="noStrike" kern="0" cap="all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object 3"/>
          <p:cNvSpPr/>
          <p:nvPr userDrawn="1"/>
        </p:nvSpPr>
        <p:spPr>
          <a:xfrm>
            <a:off x="0" y="273978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3388927"/>
            <a:ext cx="9802812" cy="485775"/>
          </a:xfrm>
        </p:spPr>
        <p:txBody>
          <a:bodyPr/>
          <a:lstStyle>
            <a:lvl1pPr>
              <a:defRPr sz="2000" b="0" cap="all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79440" y="5925165"/>
            <a:ext cx="1280160" cy="35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08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804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371600"/>
            <a:ext cx="10918825" cy="46759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7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C5AAAE33-9B46-480F-93D5-E8F93794A729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250518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7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D08215E7-F7DB-4DFD-B5D2-6CFFC3922CAF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69690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clo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5976311" y="1371599"/>
            <a:ext cx="5291764" cy="441251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9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E7A9AAB1-54A5-455C-AD58-EF9EDF2F4A3A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632018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964238" y="1371600"/>
            <a:ext cx="5303837" cy="4413250"/>
          </a:xfrm>
          <a:solidFill>
            <a:srgbClr val="E7E6E6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9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581CBC9-A6A3-4294-A7D2-3AD623447FEF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330791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17213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875649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339242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8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18A2420C-E74B-47F2-9A44-E0090274D9F1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37522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164588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7" hasCustomPrompt="1"/>
          </p:nvPr>
        </p:nvSpPr>
        <p:spPr>
          <a:xfrm>
            <a:off x="5970402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8776216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10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E089781A-4341-47A5-A8BA-BD62D98C2B9B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248248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510" y="1371600"/>
            <a:ext cx="9235289" cy="467597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78465" y="1467446"/>
            <a:ext cx="1435395" cy="1669164"/>
          </a:xfrm>
          <a:solidFill>
            <a:srgbClr val="E7E6E6"/>
          </a:solidFill>
        </p:spPr>
        <p:txBody>
          <a:bodyPr wrap="none">
            <a:normAutofit/>
          </a:bodyPr>
          <a:lstStyle>
            <a:lvl1pPr>
              <a:defRPr sz="1050"/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7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8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EBA6327-014B-4ED1-87E0-BFBBE573FBDE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39211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10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B60869AC-B6FB-42B5-A745-307EC44B6579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21356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8BFDFE7-B79F-4A75-BBF4-42D728FBED63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721499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568451" y="3362164"/>
            <a:ext cx="8838292" cy="59412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lang="en-US" sz="1800" b="0" kern="120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568450" y="1603615"/>
            <a:ext cx="8838293" cy="1800519"/>
          </a:xfrm>
        </p:spPr>
        <p:txBody>
          <a:bodyPr anchor="b" anchorCtr="0">
            <a:normAutofit/>
          </a:bodyPr>
          <a:lstStyle>
            <a:lvl1pPr algn="l">
              <a:lnSpc>
                <a:spcPct val="83000"/>
              </a:lnSpc>
              <a:defRPr kumimoji="0" lang="en-US" sz="3600" b="1" i="0" u="none" strike="noStrike" kern="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9921" y="572212"/>
            <a:ext cx="2689622" cy="730542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68451" y="4321630"/>
            <a:ext cx="5626100" cy="106362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-10160" y="5060294"/>
            <a:ext cx="12202160" cy="1338901"/>
            <a:chOff x="0" y="4613251"/>
            <a:chExt cx="12192000" cy="1783714"/>
          </a:xfrm>
        </p:grpSpPr>
        <p:sp>
          <p:nvSpPr>
            <p:cNvPr id="10" name="object 18"/>
            <p:cNvSpPr/>
            <p:nvPr userDrawn="1"/>
          </p:nvSpPr>
          <p:spPr>
            <a:xfrm>
              <a:off x="0" y="4613251"/>
              <a:ext cx="12192000" cy="1783714"/>
            </a:xfrm>
            <a:custGeom>
              <a:avLst/>
              <a:gdLst/>
              <a:ahLst/>
              <a:cxnLst/>
              <a:rect l="l" t="t" r="r" b="b"/>
              <a:pathLst>
                <a:path w="12192000" h="1783714">
                  <a:moveTo>
                    <a:pt x="0" y="1669073"/>
                  </a:moveTo>
                  <a:lnTo>
                    <a:pt x="43521" y="1675430"/>
                  </a:lnTo>
                  <a:lnTo>
                    <a:pt x="90906" y="1682117"/>
                  </a:lnTo>
                  <a:lnTo>
                    <a:pt x="138340" y="1688577"/>
                  </a:lnTo>
                  <a:lnTo>
                    <a:pt x="185821" y="1694813"/>
                  </a:lnTo>
                  <a:lnTo>
                    <a:pt x="233351" y="1700825"/>
                  </a:lnTo>
                  <a:lnTo>
                    <a:pt x="280927" y="1706615"/>
                  </a:lnTo>
                  <a:lnTo>
                    <a:pt x="328551" y="1712183"/>
                  </a:lnTo>
                  <a:lnTo>
                    <a:pt x="376220" y="1717531"/>
                  </a:lnTo>
                  <a:lnTo>
                    <a:pt x="423936" y="1722660"/>
                  </a:lnTo>
                  <a:lnTo>
                    <a:pt x="471697" y="1727571"/>
                  </a:lnTo>
                  <a:lnTo>
                    <a:pt x="519502" y="1732265"/>
                  </a:lnTo>
                  <a:lnTo>
                    <a:pt x="567352" y="1736743"/>
                  </a:lnTo>
                  <a:lnTo>
                    <a:pt x="615246" y="1741008"/>
                  </a:lnTo>
                  <a:lnTo>
                    <a:pt x="663184" y="1745059"/>
                  </a:lnTo>
                  <a:lnTo>
                    <a:pt x="711165" y="1748898"/>
                  </a:lnTo>
                  <a:lnTo>
                    <a:pt x="759188" y="1752526"/>
                  </a:lnTo>
                  <a:lnTo>
                    <a:pt x="807253" y="1755944"/>
                  </a:lnTo>
                  <a:lnTo>
                    <a:pt x="855361" y="1759154"/>
                  </a:lnTo>
                  <a:lnTo>
                    <a:pt x="903509" y="1762157"/>
                  </a:lnTo>
                  <a:lnTo>
                    <a:pt x="951698" y="1764953"/>
                  </a:lnTo>
                  <a:lnTo>
                    <a:pt x="999927" y="1767545"/>
                  </a:lnTo>
                  <a:lnTo>
                    <a:pt x="1048197" y="1769932"/>
                  </a:lnTo>
                  <a:lnTo>
                    <a:pt x="1096505" y="1772117"/>
                  </a:lnTo>
                  <a:lnTo>
                    <a:pt x="1144853" y="1774100"/>
                  </a:lnTo>
                  <a:lnTo>
                    <a:pt x="1193239" y="1775883"/>
                  </a:lnTo>
                  <a:lnTo>
                    <a:pt x="1241663" y="1777467"/>
                  </a:lnTo>
                  <a:lnTo>
                    <a:pt x="1290125" y="1778853"/>
                  </a:lnTo>
                  <a:lnTo>
                    <a:pt x="1338623" y="1780042"/>
                  </a:lnTo>
                  <a:lnTo>
                    <a:pt x="1387159" y="1781035"/>
                  </a:lnTo>
                  <a:lnTo>
                    <a:pt x="1435730" y="1781834"/>
                  </a:lnTo>
                  <a:lnTo>
                    <a:pt x="1484338" y="1782439"/>
                  </a:lnTo>
                  <a:lnTo>
                    <a:pt x="1532980" y="1782852"/>
                  </a:lnTo>
                  <a:lnTo>
                    <a:pt x="1581658" y="1783075"/>
                  </a:lnTo>
                  <a:lnTo>
                    <a:pt x="1630369" y="1783107"/>
                  </a:lnTo>
                  <a:lnTo>
                    <a:pt x="1679115" y="1782951"/>
                  </a:lnTo>
                  <a:lnTo>
                    <a:pt x="1727894" y="1782607"/>
                  </a:lnTo>
                  <a:lnTo>
                    <a:pt x="1776706" y="1782077"/>
                  </a:lnTo>
                  <a:lnTo>
                    <a:pt x="1825551" y="1781362"/>
                  </a:lnTo>
                  <a:lnTo>
                    <a:pt x="1874427" y="1780463"/>
                  </a:lnTo>
                  <a:lnTo>
                    <a:pt x="1923335" y="1779381"/>
                  </a:lnTo>
                  <a:lnTo>
                    <a:pt x="1972275" y="1778118"/>
                  </a:lnTo>
                  <a:lnTo>
                    <a:pt x="2021245" y="1776674"/>
                  </a:lnTo>
                  <a:lnTo>
                    <a:pt x="2070245" y="1775051"/>
                  </a:lnTo>
                  <a:lnTo>
                    <a:pt x="2119275" y="1773249"/>
                  </a:lnTo>
                  <a:lnTo>
                    <a:pt x="2168334" y="1771271"/>
                  </a:lnTo>
                  <a:lnTo>
                    <a:pt x="2217422" y="1769117"/>
                  </a:lnTo>
                  <a:lnTo>
                    <a:pt x="2266539" y="1766788"/>
                  </a:lnTo>
                  <a:lnTo>
                    <a:pt x="2315683" y="1764286"/>
                  </a:lnTo>
                  <a:lnTo>
                    <a:pt x="2364855" y="1761612"/>
                  </a:lnTo>
                  <a:lnTo>
                    <a:pt x="2414054" y="1758766"/>
                  </a:lnTo>
                  <a:lnTo>
                    <a:pt x="2463280" y="1755751"/>
                  </a:lnTo>
                  <a:lnTo>
                    <a:pt x="2512531" y="1752567"/>
                  </a:lnTo>
                  <a:lnTo>
                    <a:pt x="2561809" y="1749215"/>
                  </a:lnTo>
                  <a:lnTo>
                    <a:pt x="2611111" y="1745697"/>
                  </a:lnTo>
                  <a:lnTo>
                    <a:pt x="2660438" y="1742013"/>
                  </a:lnTo>
                  <a:lnTo>
                    <a:pt x="2709790" y="1738166"/>
                  </a:lnTo>
                  <a:lnTo>
                    <a:pt x="2759165" y="1734155"/>
                  </a:lnTo>
                  <a:lnTo>
                    <a:pt x="2808563" y="1729983"/>
                  </a:lnTo>
                  <a:lnTo>
                    <a:pt x="2857985" y="1725650"/>
                  </a:lnTo>
                  <a:lnTo>
                    <a:pt x="2907429" y="1721158"/>
                  </a:lnTo>
                  <a:lnTo>
                    <a:pt x="2956895" y="1716508"/>
                  </a:lnTo>
                  <a:lnTo>
                    <a:pt x="3006382" y="1711700"/>
                  </a:lnTo>
                  <a:lnTo>
                    <a:pt x="3055890" y="1706737"/>
                  </a:lnTo>
                  <a:lnTo>
                    <a:pt x="3105419" y="1701619"/>
                  </a:lnTo>
                  <a:lnTo>
                    <a:pt x="3154968" y="1696347"/>
                  </a:lnTo>
                  <a:lnTo>
                    <a:pt x="3204537" y="1690923"/>
                  </a:lnTo>
                  <a:lnTo>
                    <a:pt x="3254125" y="1685348"/>
                  </a:lnTo>
                  <a:lnTo>
                    <a:pt x="3303732" y="1679622"/>
                  </a:lnTo>
                  <a:lnTo>
                    <a:pt x="3353357" y="1673748"/>
                  </a:lnTo>
                  <a:lnTo>
                    <a:pt x="3403000" y="1667726"/>
                  </a:lnTo>
                  <a:lnTo>
                    <a:pt x="3452660" y="1661558"/>
                  </a:lnTo>
                  <a:lnTo>
                    <a:pt x="3502338" y="1655244"/>
                  </a:lnTo>
                  <a:lnTo>
                    <a:pt x="3552031" y="1648786"/>
                  </a:lnTo>
                  <a:lnTo>
                    <a:pt x="3601741" y="1642185"/>
                  </a:lnTo>
                  <a:lnTo>
                    <a:pt x="3651466" y="1635442"/>
                  </a:lnTo>
                  <a:lnTo>
                    <a:pt x="3701207" y="1628558"/>
                  </a:lnTo>
                  <a:lnTo>
                    <a:pt x="3750962" y="1621535"/>
                  </a:lnTo>
                  <a:lnTo>
                    <a:pt x="3800731" y="1614374"/>
                  </a:lnTo>
                  <a:lnTo>
                    <a:pt x="3850514" y="1607075"/>
                  </a:lnTo>
                  <a:lnTo>
                    <a:pt x="3900310" y="1599641"/>
                  </a:lnTo>
                  <a:lnTo>
                    <a:pt x="3950119" y="1592071"/>
                  </a:lnTo>
                  <a:lnTo>
                    <a:pt x="3999940" y="1584368"/>
                  </a:lnTo>
                  <a:lnTo>
                    <a:pt x="4049774" y="1576532"/>
                  </a:lnTo>
                  <a:lnTo>
                    <a:pt x="4099618" y="1568565"/>
                  </a:lnTo>
                  <a:lnTo>
                    <a:pt x="4149474" y="1560468"/>
                  </a:lnTo>
                  <a:lnTo>
                    <a:pt x="4199340" y="1552242"/>
                  </a:lnTo>
                  <a:lnTo>
                    <a:pt x="4249216" y="1543888"/>
                  </a:lnTo>
                  <a:lnTo>
                    <a:pt x="4299102" y="1535408"/>
                  </a:lnTo>
                  <a:lnTo>
                    <a:pt x="4348997" y="1526802"/>
                  </a:lnTo>
                  <a:lnTo>
                    <a:pt x="4398900" y="1518071"/>
                  </a:lnTo>
                  <a:lnTo>
                    <a:pt x="4448812" y="1509218"/>
                  </a:lnTo>
                  <a:lnTo>
                    <a:pt x="4498731" y="1500242"/>
                  </a:lnTo>
                  <a:lnTo>
                    <a:pt x="4548658" y="1491146"/>
                  </a:lnTo>
                  <a:lnTo>
                    <a:pt x="4598592" y="1481930"/>
                  </a:lnTo>
                  <a:lnTo>
                    <a:pt x="4648532" y="1472595"/>
                  </a:lnTo>
                  <a:lnTo>
                    <a:pt x="4698478" y="1463144"/>
                  </a:lnTo>
                  <a:lnTo>
                    <a:pt x="4748429" y="1453576"/>
                  </a:lnTo>
                  <a:lnTo>
                    <a:pt x="4798386" y="1443893"/>
                  </a:lnTo>
                  <a:lnTo>
                    <a:pt x="4848347" y="1434097"/>
                  </a:lnTo>
                  <a:lnTo>
                    <a:pt x="4898312" y="1424187"/>
                  </a:lnTo>
                  <a:lnTo>
                    <a:pt x="4948280" y="1414167"/>
                  </a:lnTo>
                  <a:lnTo>
                    <a:pt x="4998252" y="1404036"/>
                  </a:lnTo>
                  <a:lnTo>
                    <a:pt x="5048227" y="1393796"/>
                  </a:lnTo>
                  <a:lnTo>
                    <a:pt x="5098204" y="1383448"/>
                  </a:lnTo>
                  <a:lnTo>
                    <a:pt x="5148182" y="1372993"/>
                  </a:lnTo>
                  <a:lnTo>
                    <a:pt x="5198162" y="1362433"/>
                  </a:lnTo>
                  <a:lnTo>
                    <a:pt x="5248143" y="1351768"/>
                  </a:lnTo>
                  <a:lnTo>
                    <a:pt x="5298124" y="1341000"/>
                  </a:lnTo>
                  <a:lnTo>
                    <a:pt x="5348106" y="1330130"/>
                  </a:lnTo>
                  <a:lnTo>
                    <a:pt x="5398086" y="1319159"/>
                  </a:lnTo>
                  <a:lnTo>
                    <a:pt x="5448066" y="1308089"/>
                  </a:lnTo>
                  <a:lnTo>
                    <a:pt x="5498044" y="1296919"/>
                  </a:lnTo>
                  <a:lnTo>
                    <a:pt x="5548021" y="1285652"/>
                  </a:lnTo>
                  <a:lnTo>
                    <a:pt x="5597995" y="1274290"/>
                  </a:lnTo>
                  <a:lnTo>
                    <a:pt x="5647966" y="1262832"/>
                  </a:lnTo>
                  <a:lnTo>
                    <a:pt x="5697935" y="1251280"/>
                  </a:lnTo>
                  <a:lnTo>
                    <a:pt x="5747899" y="1239635"/>
                  </a:lnTo>
                  <a:lnTo>
                    <a:pt x="5797859" y="1227899"/>
                  </a:lnTo>
                  <a:lnTo>
                    <a:pt x="5847815" y="1216072"/>
                  </a:lnTo>
                  <a:lnTo>
                    <a:pt x="5897765" y="1204156"/>
                  </a:lnTo>
                  <a:lnTo>
                    <a:pt x="5947711" y="1192152"/>
                  </a:lnTo>
                  <a:lnTo>
                    <a:pt x="5997650" y="1180062"/>
                  </a:lnTo>
                  <a:lnTo>
                    <a:pt x="6047582" y="1167885"/>
                  </a:lnTo>
                  <a:lnTo>
                    <a:pt x="6097508" y="1155624"/>
                  </a:lnTo>
                  <a:lnTo>
                    <a:pt x="6147426" y="1143280"/>
                  </a:lnTo>
                  <a:lnTo>
                    <a:pt x="6197336" y="1130853"/>
                  </a:lnTo>
                  <a:lnTo>
                    <a:pt x="6247239" y="1118346"/>
                  </a:lnTo>
                  <a:lnTo>
                    <a:pt x="6297132" y="1105758"/>
                  </a:lnTo>
                  <a:lnTo>
                    <a:pt x="6347016" y="1093092"/>
                  </a:lnTo>
                  <a:lnTo>
                    <a:pt x="6396891" y="1080348"/>
                  </a:lnTo>
                  <a:lnTo>
                    <a:pt x="6446755" y="1067528"/>
                  </a:lnTo>
                  <a:lnTo>
                    <a:pt x="6496609" y="1054633"/>
                  </a:lnTo>
                  <a:lnTo>
                    <a:pt x="6546452" y="1041664"/>
                  </a:lnTo>
                  <a:lnTo>
                    <a:pt x="6596283" y="1028622"/>
                  </a:lnTo>
                  <a:lnTo>
                    <a:pt x="6646102" y="1015508"/>
                  </a:lnTo>
                  <a:lnTo>
                    <a:pt x="6695909" y="1002324"/>
                  </a:lnTo>
                  <a:lnTo>
                    <a:pt x="6745703" y="989070"/>
                  </a:lnTo>
                  <a:lnTo>
                    <a:pt x="6795484" y="975748"/>
                  </a:lnTo>
                  <a:lnTo>
                    <a:pt x="6845251" y="962360"/>
                  </a:lnTo>
                  <a:lnTo>
                    <a:pt x="6895004" y="948905"/>
                  </a:lnTo>
                  <a:lnTo>
                    <a:pt x="6944742" y="935386"/>
                  </a:lnTo>
                  <a:lnTo>
                    <a:pt x="6994464" y="921803"/>
                  </a:lnTo>
                  <a:lnTo>
                    <a:pt x="7044171" y="908158"/>
                  </a:lnTo>
                  <a:lnTo>
                    <a:pt x="7093863" y="894452"/>
                  </a:lnTo>
                  <a:lnTo>
                    <a:pt x="7143537" y="880686"/>
                  </a:lnTo>
                  <a:lnTo>
                    <a:pt x="7193195" y="866861"/>
                  </a:lnTo>
                  <a:lnTo>
                    <a:pt x="7242835" y="852978"/>
                  </a:lnTo>
                  <a:lnTo>
                    <a:pt x="7292457" y="839039"/>
                  </a:lnTo>
                  <a:lnTo>
                    <a:pt x="7342061" y="825045"/>
                  </a:lnTo>
                  <a:lnTo>
                    <a:pt x="7391646" y="810996"/>
                  </a:lnTo>
                  <a:lnTo>
                    <a:pt x="7441211" y="796895"/>
                  </a:lnTo>
                  <a:lnTo>
                    <a:pt x="7490757" y="782742"/>
                  </a:lnTo>
                  <a:lnTo>
                    <a:pt x="7540283" y="768538"/>
                  </a:lnTo>
                  <a:lnTo>
                    <a:pt x="7589788" y="754284"/>
                  </a:lnTo>
                  <a:lnTo>
                    <a:pt x="7639272" y="739983"/>
                  </a:lnTo>
                  <a:lnTo>
                    <a:pt x="7688734" y="725634"/>
                  </a:lnTo>
                  <a:lnTo>
                    <a:pt x="7738174" y="711239"/>
                  </a:lnTo>
                  <a:lnTo>
                    <a:pt x="7787592" y="696800"/>
                  </a:lnTo>
                  <a:lnTo>
                    <a:pt x="7836987" y="682317"/>
                  </a:lnTo>
                  <a:lnTo>
                    <a:pt x="7886358" y="667792"/>
                  </a:lnTo>
                  <a:lnTo>
                    <a:pt x="7935706" y="653225"/>
                  </a:lnTo>
                  <a:lnTo>
                    <a:pt x="7985029" y="638618"/>
                  </a:lnTo>
                  <a:lnTo>
                    <a:pt x="8034327" y="623972"/>
                  </a:lnTo>
                  <a:lnTo>
                    <a:pt x="8083600" y="609289"/>
                  </a:lnTo>
                  <a:lnTo>
                    <a:pt x="8132848" y="594569"/>
                  </a:lnTo>
                  <a:lnTo>
                    <a:pt x="8182069" y="579813"/>
                  </a:lnTo>
                  <a:lnTo>
                    <a:pt x="8231263" y="565024"/>
                  </a:lnTo>
                  <a:lnTo>
                    <a:pt x="8280431" y="550201"/>
                  </a:lnTo>
                  <a:lnTo>
                    <a:pt x="8329571" y="535346"/>
                  </a:lnTo>
                  <a:lnTo>
                    <a:pt x="8378683" y="520461"/>
                  </a:lnTo>
                  <a:lnTo>
                    <a:pt x="8427766" y="505546"/>
                  </a:lnTo>
                  <a:lnTo>
                    <a:pt x="8476821" y="490603"/>
                  </a:lnTo>
                  <a:lnTo>
                    <a:pt x="8525846" y="475632"/>
                  </a:lnTo>
                  <a:lnTo>
                    <a:pt x="8574841" y="460635"/>
                  </a:lnTo>
                  <a:lnTo>
                    <a:pt x="8623806" y="445614"/>
                  </a:lnTo>
                  <a:lnTo>
                    <a:pt x="8672741" y="430569"/>
                  </a:lnTo>
                  <a:lnTo>
                    <a:pt x="8731141" y="412776"/>
                  </a:lnTo>
                  <a:lnTo>
                    <a:pt x="8789473" y="395387"/>
                  </a:lnTo>
                  <a:lnTo>
                    <a:pt x="8847732" y="378399"/>
                  </a:lnTo>
                  <a:lnTo>
                    <a:pt x="8905911" y="361811"/>
                  </a:lnTo>
                  <a:lnTo>
                    <a:pt x="8964005" y="345621"/>
                  </a:lnTo>
                  <a:lnTo>
                    <a:pt x="9022009" y="329826"/>
                  </a:lnTo>
                  <a:lnTo>
                    <a:pt x="9079917" y="314426"/>
                  </a:lnTo>
                  <a:lnTo>
                    <a:pt x="9137723" y="299418"/>
                  </a:lnTo>
                  <a:lnTo>
                    <a:pt x="9195422" y="284801"/>
                  </a:lnTo>
                  <a:lnTo>
                    <a:pt x="9253009" y="270573"/>
                  </a:lnTo>
                  <a:lnTo>
                    <a:pt x="9310478" y="256732"/>
                  </a:lnTo>
                  <a:lnTo>
                    <a:pt x="9367823" y="243276"/>
                  </a:lnTo>
                  <a:lnTo>
                    <a:pt x="9425039" y="230204"/>
                  </a:lnTo>
                  <a:lnTo>
                    <a:pt x="9482120" y="217514"/>
                  </a:lnTo>
                  <a:lnTo>
                    <a:pt x="9539061" y="205204"/>
                  </a:lnTo>
                  <a:lnTo>
                    <a:pt x="9595857" y="193272"/>
                  </a:lnTo>
                  <a:lnTo>
                    <a:pt x="9652501" y="181716"/>
                  </a:lnTo>
                  <a:lnTo>
                    <a:pt x="9708989" y="170535"/>
                  </a:lnTo>
                  <a:lnTo>
                    <a:pt x="9765314" y="159728"/>
                  </a:lnTo>
                  <a:lnTo>
                    <a:pt x="9821471" y="149291"/>
                  </a:lnTo>
                  <a:lnTo>
                    <a:pt x="9877455" y="139224"/>
                  </a:lnTo>
                  <a:lnTo>
                    <a:pt x="9933260" y="129524"/>
                  </a:lnTo>
                  <a:lnTo>
                    <a:pt x="9988881" y="120191"/>
                  </a:lnTo>
                  <a:lnTo>
                    <a:pt x="10044312" y="111221"/>
                  </a:lnTo>
                  <a:lnTo>
                    <a:pt x="10099547" y="102614"/>
                  </a:lnTo>
                  <a:lnTo>
                    <a:pt x="10154581" y="94367"/>
                  </a:lnTo>
                  <a:lnTo>
                    <a:pt x="10209409" y="86479"/>
                  </a:lnTo>
                  <a:lnTo>
                    <a:pt x="10264024" y="78948"/>
                  </a:lnTo>
                  <a:lnTo>
                    <a:pt x="10318422" y="71772"/>
                  </a:lnTo>
                  <a:lnTo>
                    <a:pt x="10372597" y="64950"/>
                  </a:lnTo>
                  <a:lnTo>
                    <a:pt x="10426544" y="58479"/>
                  </a:lnTo>
                  <a:lnTo>
                    <a:pt x="10480256" y="52359"/>
                  </a:lnTo>
                  <a:lnTo>
                    <a:pt x="10533728" y="46586"/>
                  </a:lnTo>
                  <a:lnTo>
                    <a:pt x="10586955" y="41160"/>
                  </a:lnTo>
                  <a:lnTo>
                    <a:pt x="10639932" y="36078"/>
                  </a:lnTo>
                  <a:lnTo>
                    <a:pt x="10692652" y="31340"/>
                  </a:lnTo>
                  <a:lnTo>
                    <a:pt x="10745110" y="26942"/>
                  </a:lnTo>
                  <a:lnTo>
                    <a:pt x="10797301" y="22883"/>
                  </a:lnTo>
                  <a:lnTo>
                    <a:pt x="10849219" y="19162"/>
                  </a:lnTo>
                  <a:lnTo>
                    <a:pt x="10900859" y="15777"/>
                  </a:lnTo>
                  <a:lnTo>
                    <a:pt x="10952214" y="12726"/>
                  </a:lnTo>
                  <a:lnTo>
                    <a:pt x="11003281" y="10007"/>
                  </a:lnTo>
                  <a:lnTo>
                    <a:pt x="11054052" y="7618"/>
                  </a:lnTo>
                  <a:lnTo>
                    <a:pt x="11104522" y="5558"/>
                  </a:lnTo>
                  <a:lnTo>
                    <a:pt x="11154687" y="3825"/>
                  </a:lnTo>
                  <a:lnTo>
                    <a:pt x="11204540" y="2417"/>
                  </a:lnTo>
                  <a:lnTo>
                    <a:pt x="11254076" y="1332"/>
                  </a:lnTo>
                  <a:lnTo>
                    <a:pt x="11303289" y="569"/>
                  </a:lnTo>
                  <a:lnTo>
                    <a:pt x="11352174" y="125"/>
                  </a:lnTo>
                  <a:lnTo>
                    <a:pt x="11400726" y="0"/>
                  </a:lnTo>
                  <a:lnTo>
                    <a:pt x="11448938" y="190"/>
                  </a:lnTo>
                  <a:lnTo>
                    <a:pt x="11496805" y="695"/>
                  </a:lnTo>
                  <a:lnTo>
                    <a:pt x="11544322" y="1513"/>
                  </a:lnTo>
                  <a:lnTo>
                    <a:pt x="11591483" y="2642"/>
                  </a:lnTo>
                  <a:lnTo>
                    <a:pt x="11638283" y="4080"/>
                  </a:lnTo>
                  <a:lnTo>
                    <a:pt x="11684716" y="5825"/>
                  </a:lnTo>
                  <a:lnTo>
                    <a:pt x="11730777" y="7876"/>
                  </a:lnTo>
                  <a:lnTo>
                    <a:pt x="11776460" y="10231"/>
                  </a:lnTo>
                  <a:lnTo>
                    <a:pt x="11821759" y="12887"/>
                  </a:lnTo>
                  <a:lnTo>
                    <a:pt x="11866669" y="15844"/>
                  </a:lnTo>
                  <a:lnTo>
                    <a:pt x="11911185" y="19100"/>
                  </a:lnTo>
                  <a:lnTo>
                    <a:pt x="11955300" y="22652"/>
                  </a:lnTo>
                  <a:lnTo>
                    <a:pt x="11999010" y="26499"/>
                  </a:lnTo>
                  <a:lnTo>
                    <a:pt x="12042309" y="30639"/>
                  </a:lnTo>
                  <a:lnTo>
                    <a:pt x="12085191" y="35071"/>
                  </a:lnTo>
                  <a:lnTo>
                    <a:pt x="12127651" y="39792"/>
                  </a:lnTo>
                  <a:lnTo>
                    <a:pt x="12169684" y="44801"/>
                  </a:lnTo>
                  <a:lnTo>
                    <a:pt x="12192000" y="47642"/>
                  </a:lnTo>
                </a:path>
              </a:pathLst>
            </a:custGeom>
            <a:ln w="25400">
              <a:solidFill>
                <a:srgbClr val="DA1E4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9"/>
            <p:cNvSpPr/>
            <p:nvPr userDrawn="1"/>
          </p:nvSpPr>
          <p:spPr>
            <a:xfrm>
              <a:off x="0" y="5047558"/>
              <a:ext cx="12192000" cy="1029969"/>
            </a:xfrm>
            <a:custGeom>
              <a:avLst/>
              <a:gdLst/>
              <a:ahLst/>
              <a:cxnLst/>
              <a:rect l="l" t="t" r="r" b="b"/>
              <a:pathLst>
                <a:path w="12192000" h="1029970">
                  <a:moveTo>
                    <a:pt x="12192000" y="68478"/>
                  </a:moveTo>
                  <a:lnTo>
                    <a:pt x="12140152" y="60680"/>
                  </a:lnTo>
                  <a:lnTo>
                    <a:pt x="12100389" y="55127"/>
                  </a:lnTo>
                  <a:lnTo>
                    <a:pt x="12060079" y="49836"/>
                  </a:lnTo>
                  <a:lnTo>
                    <a:pt x="12019228" y="44806"/>
                  </a:lnTo>
                  <a:lnTo>
                    <a:pt x="11977843" y="40039"/>
                  </a:lnTo>
                  <a:lnTo>
                    <a:pt x="11935931" y="35535"/>
                  </a:lnTo>
                  <a:lnTo>
                    <a:pt x="11893498" y="31296"/>
                  </a:lnTo>
                  <a:lnTo>
                    <a:pt x="11850553" y="27322"/>
                  </a:lnTo>
                  <a:lnTo>
                    <a:pt x="11807101" y="23614"/>
                  </a:lnTo>
                  <a:lnTo>
                    <a:pt x="11763149" y="20173"/>
                  </a:lnTo>
                  <a:lnTo>
                    <a:pt x="11718704" y="16999"/>
                  </a:lnTo>
                  <a:lnTo>
                    <a:pt x="11673773" y="14094"/>
                  </a:lnTo>
                  <a:lnTo>
                    <a:pt x="11628363" y="11458"/>
                  </a:lnTo>
                  <a:lnTo>
                    <a:pt x="11582481" y="9093"/>
                  </a:lnTo>
                  <a:lnTo>
                    <a:pt x="11536134" y="6999"/>
                  </a:lnTo>
                  <a:lnTo>
                    <a:pt x="11489327" y="5176"/>
                  </a:lnTo>
                  <a:lnTo>
                    <a:pt x="11442069" y="3627"/>
                  </a:lnTo>
                  <a:lnTo>
                    <a:pt x="11394366" y="2351"/>
                  </a:lnTo>
                  <a:lnTo>
                    <a:pt x="11346225" y="1349"/>
                  </a:lnTo>
                  <a:lnTo>
                    <a:pt x="11297653" y="623"/>
                  </a:lnTo>
                  <a:lnTo>
                    <a:pt x="11248656" y="173"/>
                  </a:lnTo>
                  <a:lnTo>
                    <a:pt x="11199242" y="0"/>
                  </a:lnTo>
                  <a:lnTo>
                    <a:pt x="11149417" y="104"/>
                  </a:lnTo>
                  <a:lnTo>
                    <a:pt x="11099188" y="488"/>
                  </a:lnTo>
                  <a:lnTo>
                    <a:pt x="11048563" y="1150"/>
                  </a:lnTo>
                  <a:lnTo>
                    <a:pt x="10997547" y="2094"/>
                  </a:lnTo>
                  <a:lnTo>
                    <a:pt x="10946148" y="3318"/>
                  </a:lnTo>
                  <a:lnTo>
                    <a:pt x="10894372" y="4825"/>
                  </a:lnTo>
                  <a:lnTo>
                    <a:pt x="10842227" y="6614"/>
                  </a:lnTo>
                  <a:lnTo>
                    <a:pt x="10789719" y="8687"/>
                  </a:lnTo>
                  <a:lnTo>
                    <a:pt x="10736855" y="11045"/>
                  </a:lnTo>
                  <a:lnTo>
                    <a:pt x="10683641" y="13688"/>
                  </a:lnTo>
                  <a:lnTo>
                    <a:pt x="10630086" y="16617"/>
                  </a:lnTo>
                  <a:lnTo>
                    <a:pt x="10576195" y="19834"/>
                  </a:lnTo>
                  <a:lnTo>
                    <a:pt x="10521976" y="23338"/>
                  </a:lnTo>
                  <a:lnTo>
                    <a:pt x="10467435" y="27131"/>
                  </a:lnTo>
                  <a:lnTo>
                    <a:pt x="10412579" y="31214"/>
                  </a:lnTo>
                  <a:lnTo>
                    <a:pt x="10357416" y="35588"/>
                  </a:lnTo>
                  <a:lnTo>
                    <a:pt x="10301951" y="40253"/>
                  </a:lnTo>
                  <a:lnTo>
                    <a:pt x="10246191" y="45209"/>
                  </a:lnTo>
                  <a:lnTo>
                    <a:pt x="10190145" y="50459"/>
                  </a:lnTo>
                  <a:lnTo>
                    <a:pt x="10133817" y="56003"/>
                  </a:lnTo>
                  <a:lnTo>
                    <a:pt x="10077216" y="61842"/>
                  </a:lnTo>
                  <a:lnTo>
                    <a:pt x="10020348" y="67976"/>
                  </a:lnTo>
                  <a:lnTo>
                    <a:pt x="9963220" y="74406"/>
                  </a:lnTo>
                  <a:lnTo>
                    <a:pt x="9905838" y="81134"/>
                  </a:lnTo>
                  <a:lnTo>
                    <a:pt x="9848211" y="88160"/>
                  </a:lnTo>
                  <a:lnTo>
                    <a:pt x="9790343" y="95485"/>
                  </a:lnTo>
                  <a:lnTo>
                    <a:pt x="9732243" y="103109"/>
                  </a:lnTo>
                  <a:lnTo>
                    <a:pt x="9673917" y="111034"/>
                  </a:lnTo>
                  <a:lnTo>
                    <a:pt x="9615372" y="119261"/>
                  </a:lnTo>
                  <a:lnTo>
                    <a:pt x="9556615" y="127790"/>
                  </a:lnTo>
                  <a:lnTo>
                    <a:pt x="9497653" y="136622"/>
                  </a:lnTo>
                  <a:lnTo>
                    <a:pt x="9438492" y="145758"/>
                  </a:lnTo>
                  <a:lnTo>
                    <a:pt x="9379139" y="155199"/>
                  </a:lnTo>
                  <a:lnTo>
                    <a:pt x="9319602" y="164946"/>
                  </a:lnTo>
                  <a:lnTo>
                    <a:pt x="9259887" y="174999"/>
                  </a:lnTo>
                  <a:lnTo>
                    <a:pt x="9200000" y="185359"/>
                  </a:lnTo>
                  <a:lnTo>
                    <a:pt x="9139950" y="196028"/>
                  </a:lnTo>
                  <a:lnTo>
                    <a:pt x="9079742" y="207006"/>
                  </a:lnTo>
                  <a:lnTo>
                    <a:pt x="9019383" y="218294"/>
                  </a:lnTo>
                  <a:lnTo>
                    <a:pt x="8958881" y="229892"/>
                  </a:lnTo>
                  <a:lnTo>
                    <a:pt x="8898242" y="241802"/>
                  </a:lnTo>
                  <a:lnTo>
                    <a:pt x="8837473" y="254025"/>
                  </a:lnTo>
                  <a:lnTo>
                    <a:pt x="8776581" y="266561"/>
                  </a:lnTo>
                  <a:lnTo>
                    <a:pt x="8730075" y="276234"/>
                  </a:lnTo>
                  <a:lnTo>
                    <a:pt x="8683456" y="285898"/>
                  </a:lnTo>
                  <a:lnTo>
                    <a:pt x="8636725" y="295551"/>
                  </a:lnTo>
                  <a:lnTo>
                    <a:pt x="8589883" y="305193"/>
                  </a:lnTo>
                  <a:lnTo>
                    <a:pt x="8542932" y="314822"/>
                  </a:lnTo>
                  <a:lnTo>
                    <a:pt x="8495874" y="324437"/>
                  </a:lnTo>
                  <a:lnTo>
                    <a:pt x="8448708" y="334036"/>
                  </a:lnTo>
                  <a:lnTo>
                    <a:pt x="8401438" y="343619"/>
                  </a:lnTo>
                  <a:lnTo>
                    <a:pt x="8354063" y="353184"/>
                  </a:lnTo>
                  <a:lnTo>
                    <a:pt x="8306585" y="362731"/>
                  </a:lnTo>
                  <a:lnTo>
                    <a:pt x="8259006" y="372257"/>
                  </a:lnTo>
                  <a:lnTo>
                    <a:pt x="8211326" y="381763"/>
                  </a:lnTo>
                  <a:lnTo>
                    <a:pt x="8163548" y="391246"/>
                  </a:lnTo>
                  <a:lnTo>
                    <a:pt x="8115671" y="400706"/>
                  </a:lnTo>
                  <a:lnTo>
                    <a:pt x="8067699" y="410141"/>
                  </a:lnTo>
                  <a:lnTo>
                    <a:pt x="8019631" y="419550"/>
                  </a:lnTo>
                  <a:lnTo>
                    <a:pt x="7971470" y="428932"/>
                  </a:lnTo>
                  <a:lnTo>
                    <a:pt x="7923216" y="438285"/>
                  </a:lnTo>
                  <a:lnTo>
                    <a:pt x="7874870" y="447610"/>
                  </a:lnTo>
                  <a:lnTo>
                    <a:pt x="7826435" y="456904"/>
                  </a:lnTo>
                  <a:lnTo>
                    <a:pt x="7777911" y="466166"/>
                  </a:lnTo>
                  <a:lnTo>
                    <a:pt x="7729300" y="475395"/>
                  </a:lnTo>
                  <a:lnTo>
                    <a:pt x="7680602" y="484590"/>
                  </a:lnTo>
                  <a:lnTo>
                    <a:pt x="7631820" y="493750"/>
                  </a:lnTo>
                  <a:lnTo>
                    <a:pt x="7582954" y="502873"/>
                  </a:lnTo>
                  <a:lnTo>
                    <a:pt x="7534006" y="511958"/>
                  </a:lnTo>
                  <a:lnTo>
                    <a:pt x="7484977" y="521005"/>
                  </a:lnTo>
                  <a:lnTo>
                    <a:pt x="7435868" y="530012"/>
                  </a:lnTo>
                  <a:lnTo>
                    <a:pt x="7386681" y="538978"/>
                  </a:lnTo>
                  <a:lnTo>
                    <a:pt x="7337417" y="547901"/>
                  </a:lnTo>
                  <a:lnTo>
                    <a:pt x="7288077" y="556781"/>
                  </a:lnTo>
                  <a:lnTo>
                    <a:pt x="7238662" y="565616"/>
                  </a:lnTo>
                  <a:lnTo>
                    <a:pt x="7189175" y="574405"/>
                  </a:lnTo>
                  <a:lnTo>
                    <a:pt x="7139615" y="583147"/>
                  </a:lnTo>
                  <a:lnTo>
                    <a:pt x="7089984" y="591840"/>
                  </a:lnTo>
                  <a:lnTo>
                    <a:pt x="7040285" y="600485"/>
                  </a:lnTo>
                  <a:lnTo>
                    <a:pt x="6990517" y="609078"/>
                  </a:lnTo>
                  <a:lnTo>
                    <a:pt x="6940682" y="617620"/>
                  </a:lnTo>
                  <a:lnTo>
                    <a:pt x="6890782" y="626109"/>
                  </a:lnTo>
                  <a:lnTo>
                    <a:pt x="6840817" y="634544"/>
                  </a:lnTo>
                  <a:lnTo>
                    <a:pt x="6790790" y="642924"/>
                  </a:lnTo>
                  <a:lnTo>
                    <a:pt x="6740701" y="651247"/>
                  </a:lnTo>
                  <a:lnTo>
                    <a:pt x="6690551" y="659512"/>
                  </a:lnTo>
                  <a:lnTo>
                    <a:pt x="6640343" y="667719"/>
                  </a:lnTo>
                  <a:lnTo>
                    <a:pt x="6590076" y="675865"/>
                  </a:lnTo>
                  <a:lnTo>
                    <a:pt x="6539753" y="683950"/>
                  </a:lnTo>
                  <a:lnTo>
                    <a:pt x="6489375" y="691973"/>
                  </a:lnTo>
                  <a:lnTo>
                    <a:pt x="6438943" y="699932"/>
                  </a:lnTo>
                  <a:lnTo>
                    <a:pt x="6388458" y="707827"/>
                  </a:lnTo>
                  <a:lnTo>
                    <a:pt x="6337922" y="715655"/>
                  </a:lnTo>
                  <a:lnTo>
                    <a:pt x="6287336" y="723417"/>
                  </a:lnTo>
                  <a:lnTo>
                    <a:pt x="6236701" y="731110"/>
                  </a:lnTo>
                  <a:lnTo>
                    <a:pt x="6186019" y="738734"/>
                  </a:lnTo>
                  <a:lnTo>
                    <a:pt x="6135290" y="746287"/>
                  </a:lnTo>
                  <a:lnTo>
                    <a:pt x="6084516" y="753768"/>
                  </a:lnTo>
                  <a:lnTo>
                    <a:pt x="6033699" y="761177"/>
                  </a:lnTo>
                  <a:lnTo>
                    <a:pt x="5982839" y="768511"/>
                  </a:lnTo>
                  <a:lnTo>
                    <a:pt x="5931938" y="775769"/>
                  </a:lnTo>
                  <a:lnTo>
                    <a:pt x="5880998" y="782952"/>
                  </a:lnTo>
                  <a:lnTo>
                    <a:pt x="5830019" y="790056"/>
                  </a:lnTo>
                  <a:lnTo>
                    <a:pt x="5779002" y="797082"/>
                  </a:lnTo>
                  <a:lnTo>
                    <a:pt x="5727950" y="804027"/>
                  </a:lnTo>
                  <a:lnTo>
                    <a:pt x="5676863" y="810892"/>
                  </a:lnTo>
                  <a:lnTo>
                    <a:pt x="5625743" y="817674"/>
                  </a:lnTo>
                  <a:lnTo>
                    <a:pt x="5574591" y="824372"/>
                  </a:lnTo>
                  <a:lnTo>
                    <a:pt x="5523407" y="830986"/>
                  </a:lnTo>
                  <a:lnTo>
                    <a:pt x="5472195" y="837513"/>
                  </a:lnTo>
                  <a:lnTo>
                    <a:pt x="5420954" y="843954"/>
                  </a:lnTo>
                  <a:lnTo>
                    <a:pt x="5369686" y="850306"/>
                  </a:lnTo>
                  <a:lnTo>
                    <a:pt x="5318393" y="856568"/>
                  </a:lnTo>
                  <a:lnTo>
                    <a:pt x="5267075" y="862740"/>
                  </a:lnTo>
                  <a:lnTo>
                    <a:pt x="5215734" y="868820"/>
                  </a:lnTo>
                  <a:lnTo>
                    <a:pt x="5164371" y="874807"/>
                  </a:lnTo>
                  <a:lnTo>
                    <a:pt x="5112988" y="880700"/>
                  </a:lnTo>
                  <a:lnTo>
                    <a:pt x="5061586" y="886498"/>
                  </a:lnTo>
                  <a:lnTo>
                    <a:pt x="5010165" y="892199"/>
                  </a:lnTo>
                  <a:lnTo>
                    <a:pt x="4958728" y="897802"/>
                  </a:lnTo>
                  <a:lnTo>
                    <a:pt x="4907276" y="903306"/>
                  </a:lnTo>
                  <a:lnTo>
                    <a:pt x="4855810" y="908710"/>
                  </a:lnTo>
                  <a:lnTo>
                    <a:pt x="4804331" y="914013"/>
                  </a:lnTo>
                  <a:lnTo>
                    <a:pt x="4752840" y="919214"/>
                  </a:lnTo>
                  <a:lnTo>
                    <a:pt x="4701339" y="924311"/>
                  </a:lnTo>
                  <a:lnTo>
                    <a:pt x="4649829" y="929303"/>
                  </a:lnTo>
                  <a:lnTo>
                    <a:pt x="4598312" y="934189"/>
                  </a:lnTo>
                  <a:lnTo>
                    <a:pt x="4546788" y="938968"/>
                  </a:lnTo>
                  <a:lnTo>
                    <a:pt x="4495259" y="943638"/>
                  </a:lnTo>
                  <a:lnTo>
                    <a:pt x="4443726" y="948199"/>
                  </a:lnTo>
                  <a:lnTo>
                    <a:pt x="4392191" y="952649"/>
                  </a:lnTo>
                  <a:lnTo>
                    <a:pt x="4340655" y="956988"/>
                  </a:lnTo>
                  <a:lnTo>
                    <a:pt x="4289119" y="961213"/>
                  </a:lnTo>
                  <a:lnTo>
                    <a:pt x="4237584" y="965324"/>
                  </a:lnTo>
                  <a:lnTo>
                    <a:pt x="4186052" y="969320"/>
                  </a:lnTo>
                  <a:lnTo>
                    <a:pt x="4134523" y="973199"/>
                  </a:lnTo>
                  <a:lnTo>
                    <a:pt x="4083000" y="976961"/>
                  </a:lnTo>
                  <a:lnTo>
                    <a:pt x="4031484" y="980603"/>
                  </a:lnTo>
                  <a:lnTo>
                    <a:pt x="3979975" y="984125"/>
                  </a:lnTo>
                  <a:lnTo>
                    <a:pt x="3928475" y="987526"/>
                  </a:lnTo>
                  <a:lnTo>
                    <a:pt x="3876986" y="990805"/>
                  </a:lnTo>
                  <a:lnTo>
                    <a:pt x="3825508" y="993960"/>
                  </a:lnTo>
                  <a:lnTo>
                    <a:pt x="3774044" y="996990"/>
                  </a:lnTo>
                  <a:lnTo>
                    <a:pt x="3722593" y="999894"/>
                  </a:lnTo>
                  <a:lnTo>
                    <a:pt x="3671158" y="1002670"/>
                  </a:lnTo>
                  <a:lnTo>
                    <a:pt x="3619740" y="1005319"/>
                  </a:lnTo>
                  <a:lnTo>
                    <a:pt x="3568340" y="1007838"/>
                  </a:lnTo>
                  <a:lnTo>
                    <a:pt x="3516960" y="1010226"/>
                  </a:lnTo>
                  <a:lnTo>
                    <a:pt x="3465600" y="1012482"/>
                  </a:lnTo>
                  <a:lnTo>
                    <a:pt x="3414262" y="1014605"/>
                  </a:lnTo>
                  <a:lnTo>
                    <a:pt x="3362947" y="1016594"/>
                  </a:lnTo>
                  <a:lnTo>
                    <a:pt x="3311656" y="1018447"/>
                  </a:lnTo>
                  <a:lnTo>
                    <a:pt x="3260392" y="1020164"/>
                  </a:lnTo>
                  <a:lnTo>
                    <a:pt x="3209155" y="1021743"/>
                  </a:lnTo>
                  <a:lnTo>
                    <a:pt x="3157946" y="1023183"/>
                  </a:lnTo>
                  <a:lnTo>
                    <a:pt x="3106766" y="1024483"/>
                  </a:lnTo>
                  <a:lnTo>
                    <a:pt x="3055618" y="1025642"/>
                  </a:lnTo>
                  <a:lnTo>
                    <a:pt x="3004502" y="1026658"/>
                  </a:lnTo>
                  <a:lnTo>
                    <a:pt x="2953419" y="1027530"/>
                  </a:lnTo>
                  <a:lnTo>
                    <a:pt x="2902371" y="1028257"/>
                  </a:lnTo>
                  <a:lnTo>
                    <a:pt x="2851360" y="1028839"/>
                  </a:lnTo>
                  <a:lnTo>
                    <a:pt x="2800385" y="1029273"/>
                  </a:lnTo>
                  <a:lnTo>
                    <a:pt x="2749450" y="1029559"/>
                  </a:lnTo>
                  <a:lnTo>
                    <a:pt x="2698554" y="1029695"/>
                  </a:lnTo>
                  <a:lnTo>
                    <a:pt x="2647700" y="1029680"/>
                  </a:lnTo>
                  <a:lnTo>
                    <a:pt x="2596888" y="1029514"/>
                  </a:lnTo>
                  <a:lnTo>
                    <a:pt x="2546120" y="1029194"/>
                  </a:lnTo>
                  <a:lnTo>
                    <a:pt x="2495397" y="1028720"/>
                  </a:lnTo>
                  <a:lnTo>
                    <a:pt x="2444720" y="1028091"/>
                  </a:lnTo>
                  <a:lnTo>
                    <a:pt x="2394091" y="1027305"/>
                  </a:lnTo>
                  <a:lnTo>
                    <a:pt x="2343511" y="1026361"/>
                  </a:lnTo>
                  <a:lnTo>
                    <a:pt x="2292981" y="1025258"/>
                  </a:lnTo>
                  <a:lnTo>
                    <a:pt x="2242503" y="1023995"/>
                  </a:lnTo>
                  <a:lnTo>
                    <a:pt x="2192078" y="1022570"/>
                  </a:lnTo>
                  <a:lnTo>
                    <a:pt x="2141707" y="1020983"/>
                  </a:lnTo>
                  <a:lnTo>
                    <a:pt x="2091391" y="1019233"/>
                  </a:lnTo>
                  <a:lnTo>
                    <a:pt x="2041132" y="1017317"/>
                  </a:lnTo>
                  <a:lnTo>
                    <a:pt x="1990931" y="1015235"/>
                  </a:lnTo>
                  <a:lnTo>
                    <a:pt x="1940789" y="1012986"/>
                  </a:lnTo>
                  <a:lnTo>
                    <a:pt x="1890707" y="1010569"/>
                  </a:lnTo>
                  <a:lnTo>
                    <a:pt x="1840688" y="1007982"/>
                  </a:lnTo>
                  <a:lnTo>
                    <a:pt x="1790731" y="1005224"/>
                  </a:lnTo>
                  <a:lnTo>
                    <a:pt x="1740839" y="1002295"/>
                  </a:lnTo>
                  <a:lnTo>
                    <a:pt x="1691013" y="999192"/>
                  </a:lnTo>
                  <a:lnTo>
                    <a:pt x="1641254" y="995914"/>
                  </a:lnTo>
                  <a:lnTo>
                    <a:pt x="1591562" y="992462"/>
                  </a:lnTo>
                  <a:lnTo>
                    <a:pt x="1541941" y="988832"/>
                  </a:lnTo>
                  <a:lnTo>
                    <a:pt x="1492390" y="985025"/>
                  </a:lnTo>
                  <a:lnTo>
                    <a:pt x="1442911" y="981039"/>
                  </a:lnTo>
                  <a:lnTo>
                    <a:pt x="1393506" y="976872"/>
                  </a:lnTo>
                  <a:lnTo>
                    <a:pt x="1344176" y="972524"/>
                  </a:lnTo>
                  <a:lnTo>
                    <a:pt x="1294921" y="967993"/>
                  </a:lnTo>
                  <a:lnTo>
                    <a:pt x="1245744" y="963279"/>
                  </a:lnTo>
                  <a:lnTo>
                    <a:pt x="1196645" y="958380"/>
                  </a:lnTo>
                  <a:lnTo>
                    <a:pt x="1147626" y="953295"/>
                  </a:lnTo>
                  <a:lnTo>
                    <a:pt x="1098689" y="948022"/>
                  </a:lnTo>
                  <a:lnTo>
                    <a:pt x="1049833" y="942561"/>
                  </a:lnTo>
                  <a:lnTo>
                    <a:pt x="1001062" y="936910"/>
                  </a:lnTo>
                  <a:lnTo>
                    <a:pt x="952375" y="931069"/>
                  </a:lnTo>
                  <a:lnTo>
                    <a:pt x="903774" y="925035"/>
                  </a:lnTo>
                  <a:lnTo>
                    <a:pt x="855262" y="918808"/>
                  </a:lnTo>
                  <a:lnTo>
                    <a:pt x="806838" y="912387"/>
                  </a:lnTo>
                  <a:lnTo>
                    <a:pt x="758504" y="905771"/>
                  </a:lnTo>
                  <a:lnTo>
                    <a:pt x="710261" y="898957"/>
                  </a:lnTo>
                  <a:lnTo>
                    <a:pt x="662111" y="891946"/>
                  </a:lnTo>
                  <a:lnTo>
                    <a:pt x="614056" y="884736"/>
                  </a:lnTo>
                  <a:lnTo>
                    <a:pt x="566095" y="877325"/>
                  </a:lnTo>
                  <a:lnTo>
                    <a:pt x="518231" y="869713"/>
                  </a:lnTo>
                  <a:lnTo>
                    <a:pt x="470465" y="861899"/>
                  </a:lnTo>
                  <a:lnTo>
                    <a:pt x="422798" y="853880"/>
                  </a:lnTo>
                  <a:lnTo>
                    <a:pt x="375232" y="845657"/>
                  </a:lnTo>
                  <a:lnTo>
                    <a:pt x="327767" y="837228"/>
                  </a:lnTo>
                  <a:lnTo>
                    <a:pt x="280405" y="828591"/>
                  </a:lnTo>
                  <a:lnTo>
                    <a:pt x="233147" y="819746"/>
                  </a:lnTo>
                  <a:lnTo>
                    <a:pt x="185995" y="810691"/>
                  </a:lnTo>
                  <a:lnTo>
                    <a:pt x="138950" y="801425"/>
                  </a:lnTo>
                  <a:lnTo>
                    <a:pt x="92013" y="791947"/>
                  </a:lnTo>
                  <a:lnTo>
                    <a:pt x="45186" y="782256"/>
                  </a:lnTo>
                  <a:lnTo>
                    <a:pt x="0" y="772675"/>
                  </a:lnTo>
                </a:path>
              </a:pathLst>
            </a:custGeom>
            <a:ln w="25400">
              <a:solidFill>
                <a:srgbClr val="939598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0299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clo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5976311" y="1371599"/>
            <a:ext cx="5291764" cy="441251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974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98101" y="3353538"/>
            <a:ext cx="9808643" cy="59412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lang="en-US" sz="1800" b="0" kern="1200" cap="none" baseline="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98099" y="1612241"/>
            <a:ext cx="9808644" cy="1800519"/>
          </a:xfrm>
        </p:spPr>
        <p:txBody>
          <a:bodyPr anchor="b" anchorCtr="0">
            <a:normAutofit/>
          </a:bodyPr>
          <a:lstStyle>
            <a:lvl1pPr algn="l">
              <a:lnSpc>
                <a:spcPct val="83000"/>
              </a:lnSpc>
              <a:defRPr kumimoji="0" lang="en-US" sz="4000" b="0" i="0" u="none" strike="noStrike" kern="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1" name="object 3"/>
          <p:cNvSpPr/>
          <p:nvPr userDrawn="1"/>
        </p:nvSpPr>
        <p:spPr>
          <a:xfrm>
            <a:off x="0" y="2746080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49D6DB-4C37-42CF-9344-788F3CD22E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223" y="6315646"/>
            <a:ext cx="1278753" cy="349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862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mini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7" y="1371602"/>
            <a:ext cx="10918825" cy="46759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304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 with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102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61092" y="1615893"/>
            <a:ext cx="987552" cy="740664"/>
          </a:xfrm>
          <a:solidFill>
            <a:schemeClr val="accent1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1509441" y="1597422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462243" y="2922936"/>
            <a:ext cx="987552" cy="740664"/>
          </a:xfrm>
          <a:solidFill>
            <a:schemeClr val="accent2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62243" y="4231129"/>
            <a:ext cx="987552" cy="740664"/>
          </a:xfrm>
          <a:solidFill>
            <a:schemeClr val="accent3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44863" y="1597421"/>
            <a:ext cx="987552" cy="740664"/>
          </a:xfrm>
          <a:solidFill>
            <a:schemeClr val="accent4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44863" y="2924087"/>
            <a:ext cx="987552" cy="740664"/>
          </a:xfrm>
          <a:solidFill>
            <a:schemeClr val="accent5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844863" y="4228399"/>
            <a:ext cx="987552" cy="740664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1527165" y="2920207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1"/>
          </p:nvPr>
        </p:nvSpPr>
        <p:spPr>
          <a:xfrm>
            <a:off x="1527165" y="4229765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2"/>
          </p:nvPr>
        </p:nvSpPr>
        <p:spPr>
          <a:xfrm>
            <a:off x="6910416" y="1578950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23"/>
          </p:nvPr>
        </p:nvSpPr>
        <p:spPr>
          <a:xfrm>
            <a:off x="6910417" y="2901735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24"/>
          </p:nvPr>
        </p:nvSpPr>
        <p:spPr>
          <a:xfrm>
            <a:off x="6910417" y="4211293"/>
            <a:ext cx="3316561" cy="759137"/>
          </a:xfrm>
        </p:spPr>
        <p:txBody>
          <a:bodyPr anchor="ctr" anchorCtr="0"/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066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wo clo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5883907" y="1371601"/>
            <a:ext cx="5169408" cy="4412513"/>
          </a:xfrm>
        </p:spPr>
        <p:txBody>
          <a:bodyPr/>
          <a:lstStyle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3" y="1371600"/>
            <a:ext cx="5169408" cy="4412512"/>
          </a:xfrm>
        </p:spPr>
        <p:txBody>
          <a:bodyPr/>
          <a:lstStyle>
            <a:lvl1pPr>
              <a:defRPr/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230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883907" y="1371600"/>
            <a:ext cx="5169408" cy="441325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169408" cy="4412512"/>
          </a:xfrm>
        </p:spPr>
        <p:txBody>
          <a:bodyPr/>
          <a:lstStyle>
            <a:lvl1pPr>
              <a:defRPr/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598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17213" y="1371600"/>
            <a:ext cx="3392424" cy="4412512"/>
          </a:xfr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  <a:tabLst/>
              <a:defRPr lang="en-US" sz="16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000" b="0" kern="1200" spc="-23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marL="0" marR="922496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875649" y="1371600"/>
            <a:ext cx="3392424" cy="4412512"/>
          </a:xfr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6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000" b="0" kern="1200" spc="-23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marL="0" marR="922496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5" y="1371600"/>
            <a:ext cx="3392424" cy="4413250"/>
          </a:xfrm>
        </p:spPr>
        <p:txBody>
          <a:bodyPr/>
          <a:lstStyle>
            <a:lvl1pPr>
              <a:defRPr lang="en-US" sz="16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04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5" y="1371600"/>
            <a:ext cx="2501384" cy="4413250"/>
          </a:xfrm>
        </p:spPr>
        <p:txBody>
          <a:bodyPr/>
          <a:lstStyle>
            <a:lvl1pPr>
              <a:defRPr lang="en-US" sz="14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164588" y="1371600"/>
            <a:ext cx="2501384" cy="4413250"/>
          </a:xfrm>
        </p:spPr>
        <p:txBody>
          <a:bodyPr/>
          <a:lstStyle>
            <a:lvl1pPr>
              <a:defRPr lang="en-US" sz="14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7" hasCustomPrompt="1"/>
          </p:nvPr>
        </p:nvSpPr>
        <p:spPr>
          <a:xfrm>
            <a:off x="5970403" y="1371600"/>
            <a:ext cx="2501384" cy="4413250"/>
          </a:xfrm>
        </p:spPr>
        <p:txBody>
          <a:bodyPr/>
          <a:lstStyle>
            <a:lvl1pPr>
              <a:defRPr lang="en-US" sz="14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8776216" y="1371600"/>
            <a:ext cx="2501384" cy="4413250"/>
          </a:xfrm>
        </p:spPr>
        <p:txBody>
          <a:bodyPr/>
          <a:lstStyle>
            <a:lvl1pPr>
              <a:defRPr lang="en-US" sz="14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90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512" y="1371602"/>
            <a:ext cx="9235289" cy="4675973"/>
          </a:xfrm>
        </p:spPr>
        <p:txBody>
          <a:bodyPr/>
          <a:lstStyle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78465" y="1467447"/>
            <a:ext cx="1435395" cy="1418629"/>
          </a:xfrm>
          <a:solidFill>
            <a:schemeClr val="bg2"/>
          </a:solidFill>
        </p:spPr>
        <p:txBody>
          <a:bodyPr wrap="none">
            <a:normAutofit/>
          </a:bodyPr>
          <a:lstStyle>
            <a:lvl1pPr>
              <a:defRPr sz="788"/>
            </a:lvl1pPr>
          </a:lstStyle>
          <a:p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19157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65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964238" y="1371600"/>
            <a:ext cx="5303837" cy="441325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58775" y="1371600"/>
            <a:ext cx="5297488" cy="4412512"/>
          </a:xfrm>
        </p:spPr>
        <p:txBody>
          <a:bodyPr/>
          <a:lstStyle>
            <a:lvl1pPr>
              <a:defRPr/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39307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15" y="451455"/>
            <a:ext cx="910085" cy="685802"/>
          </a:xfrm>
          <a:prstGeom prst="rect">
            <a:avLst/>
          </a:prstGeom>
        </p:spPr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74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CAE34-34A1-4274-B861-64DCDC6482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F4406F-D9F1-4202-8222-90C56FE9A5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7BB1C5-3C02-461D-8B8A-D027201B6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11A93E-6FD7-44E1-ADD5-C2E392131D35}" type="datetimeFigureOut">
              <a:rPr lang="en-GB" smtClean="0"/>
              <a:t>31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37C8A-155F-4E35-8A0B-530C03659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CAA616-D8CA-4D1A-B52A-5E89F359C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56116-4737-40AA-8308-58CEFEC574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241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17213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875649" y="1371600"/>
            <a:ext cx="3392424" cy="44125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lang="en-US" sz="1200" b="0" kern="1200" spc="-30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marL="0" marR="1229995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339242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08373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58774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164588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7" hasCustomPrompt="1"/>
          </p:nvPr>
        </p:nvSpPr>
        <p:spPr>
          <a:xfrm>
            <a:off x="5970402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8776216" y="1371600"/>
            <a:ext cx="2501384" cy="4413250"/>
          </a:xfrm>
        </p:spPr>
        <p:txBody>
          <a:bodyPr/>
          <a:lstStyle>
            <a:lvl1pPr>
              <a:defRPr lang="en-US" sz="18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Head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5328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510" y="1371600"/>
            <a:ext cx="9235289" cy="4675973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78465" y="1467446"/>
            <a:ext cx="1435395" cy="1669164"/>
          </a:xfrm>
          <a:solidFill>
            <a:schemeClr val="bg2"/>
          </a:solidFill>
        </p:spPr>
        <p:txBody>
          <a:bodyPr wrap="none">
            <a:normAutofit/>
          </a:bodyPr>
          <a:lstStyle>
            <a:lvl1pPr>
              <a:defRPr sz="1050"/>
            </a:lvl1pPr>
          </a:lstStyle>
          <a:p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943950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981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71600"/>
            <a:ext cx="10995025" cy="480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3"/>
          <p:cNvSpPr/>
          <p:nvPr userDrawn="1"/>
        </p:nvSpPr>
        <p:spPr>
          <a:xfrm>
            <a:off x="0" y="45145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object 4"/>
          <p:cNvSpPr/>
          <p:nvPr userDrawn="1"/>
        </p:nvSpPr>
        <p:spPr>
          <a:xfrm>
            <a:off x="11277601" y="451457"/>
            <a:ext cx="685800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0" y="914400"/>
                </a:moveTo>
                <a:lnTo>
                  <a:pt x="914400" y="914400"/>
                </a:lnTo>
                <a:lnTo>
                  <a:pt x="9144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800" kern="1200" spc="-5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</a:lstStyle>
          <a:p>
            <a:fld id="{69AE0398-C5D1-4C23-8BB8-6DF786637B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8775" y="451456"/>
            <a:ext cx="10909300" cy="6858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40" y="5926347"/>
            <a:ext cx="1278753" cy="349258"/>
          </a:xfrm>
          <a:prstGeom prst="rect">
            <a:avLst/>
          </a:prstGeom>
        </p:spPr>
      </p:pic>
      <p:sp>
        <p:nvSpPr>
          <p:cNvPr id="21" name="object 19"/>
          <p:cNvSpPr/>
          <p:nvPr userDrawn="1"/>
        </p:nvSpPr>
        <p:spPr>
          <a:xfrm flipV="1">
            <a:off x="457199" y="6343949"/>
            <a:ext cx="11506201" cy="45719"/>
          </a:xfrm>
          <a:custGeom>
            <a:avLst/>
            <a:gdLst/>
            <a:ahLst/>
            <a:cxnLst/>
            <a:rect l="l" t="t" r="r" b="b"/>
            <a:pathLst>
              <a:path w="11277600">
                <a:moveTo>
                  <a:pt x="0" y="0"/>
                </a:moveTo>
                <a:lnTo>
                  <a:pt x="11277600" y="0"/>
                </a:lnTo>
              </a:path>
            </a:pathLst>
          </a:custGeom>
          <a:ln w="22263">
            <a:solidFill>
              <a:srgbClr val="A62B4D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73936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33363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17525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Helvetica" panose="020B0604020202020204" pitchFamily="34" charset="0"/>
        <a:buChar char="‒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71600"/>
            <a:ext cx="10995025" cy="480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3"/>
          <p:cNvSpPr/>
          <p:nvPr userDrawn="1"/>
        </p:nvSpPr>
        <p:spPr>
          <a:xfrm>
            <a:off x="0" y="45145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object 4"/>
          <p:cNvSpPr/>
          <p:nvPr userDrawn="1"/>
        </p:nvSpPr>
        <p:spPr>
          <a:xfrm>
            <a:off x="11277601" y="451457"/>
            <a:ext cx="685800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0" y="914400"/>
                </a:moveTo>
                <a:lnTo>
                  <a:pt x="914400" y="914400"/>
                </a:lnTo>
                <a:lnTo>
                  <a:pt x="9144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800" kern="1200" spc="-5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</a:lstStyle>
          <a:p>
            <a:fld id="{69AE0398-C5D1-4C23-8BB8-6DF786637B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8775" y="451456"/>
            <a:ext cx="10909300" cy="6858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440" y="5926347"/>
            <a:ext cx="1278753" cy="349258"/>
          </a:xfrm>
          <a:prstGeom prst="rect">
            <a:avLst/>
          </a:prstGeom>
        </p:spPr>
      </p:pic>
      <p:sp>
        <p:nvSpPr>
          <p:cNvPr id="21" name="object 19"/>
          <p:cNvSpPr/>
          <p:nvPr userDrawn="1"/>
        </p:nvSpPr>
        <p:spPr>
          <a:xfrm flipV="1">
            <a:off x="457199" y="6343949"/>
            <a:ext cx="11506201" cy="45719"/>
          </a:xfrm>
          <a:custGeom>
            <a:avLst/>
            <a:gdLst/>
            <a:ahLst/>
            <a:cxnLst/>
            <a:rect l="l" t="t" r="r" b="b"/>
            <a:pathLst>
              <a:path w="11277600">
                <a:moveTo>
                  <a:pt x="0" y="0"/>
                </a:moveTo>
                <a:lnTo>
                  <a:pt x="11277600" y="0"/>
                </a:lnTo>
              </a:path>
            </a:pathLst>
          </a:custGeom>
          <a:ln w="22263">
            <a:solidFill>
              <a:srgbClr val="A62B4D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4653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33363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17525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Helvetica" panose="020B0604020202020204" pitchFamily="34" charset="0"/>
        <a:buChar char="‒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679440" y="5925165"/>
            <a:ext cx="1280160" cy="3504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71600"/>
            <a:ext cx="10995025" cy="480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3"/>
          <p:cNvSpPr/>
          <p:nvPr userDrawn="1"/>
        </p:nvSpPr>
        <p:spPr>
          <a:xfrm>
            <a:off x="0" y="451456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7600" y="451455"/>
            <a:ext cx="685800" cy="685802"/>
          </a:xfrm>
          <a:prstGeom prst="rect">
            <a:avLst/>
          </a:prstGeom>
          <a:solidFill>
            <a:srgbClr val="D9D9D9"/>
          </a:solidFill>
        </p:spPr>
        <p:txBody>
          <a:bodyPr vert="horz" lIns="91440" tIns="45720" rIns="91440" bIns="45720" rtlCol="0" anchor="ctr"/>
          <a:lstStyle>
            <a:lvl1pPr algn="ctr">
              <a:defRPr lang="en-US" sz="1800" kern="1200" spc="-5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</a:lstStyle>
          <a:p>
            <a:fld id="{69AE0398-C5D1-4C23-8BB8-6DF786637B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8775" y="451456"/>
            <a:ext cx="10909300" cy="6858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object 19"/>
          <p:cNvSpPr/>
          <p:nvPr userDrawn="1"/>
        </p:nvSpPr>
        <p:spPr>
          <a:xfrm flipV="1">
            <a:off x="457199" y="6343949"/>
            <a:ext cx="11506201" cy="45719"/>
          </a:xfrm>
          <a:custGeom>
            <a:avLst/>
            <a:gdLst/>
            <a:ahLst/>
            <a:cxnLst/>
            <a:rect l="l" t="t" r="r" b="b"/>
            <a:pathLst>
              <a:path w="11277600">
                <a:moveTo>
                  <a:pt x="0" y="0"/>
                </a:moveTo>
                <a:lnTo>
                  <a:pt x="11277600" y="0"/>
                </a:lnTo>
              </a:path>
            </a:pathLst>
          </a:custGeom>
          <a:ln w="22263">
            <a:solidFill>
              <a:srgbClr val="A62B4E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フッター プレースホルダー 1"/>
          <p:cNvSpPr>
            <a:spLocks noGrp="1"/>
          </p:cNvSpPr>
          <p:nvPr>
            <p:ph type="ftr" sz="quarter" idx="3"/>
          </p:nvPr>
        </p:nvSpPr>
        <p:spPr>
          <a:xfrm>
            <a:off x="4038600" y="64414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onfidential</a:t>
            </a:r>
            <a:endParaRPr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66061" y="644141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B9CCCA13-495A-4A80-98D1-0D16B1B0D79A}" type="datetime1">
              <a:rPr lang="ja-JP" altLang="en-US" smtClean="0"/>
              <a:t>2022/3/3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14045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33363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17525" indent="-233363" algn="l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Helvetica" panose="020B0604020202020204" pitchFamily="34" charset="0"/>
        <a:buChar char="‒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7" y="1371602"/>
            <a:ext cx="10694539" cy="480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3"/>
          <p:cNvSpPr/>
          <p:nvPr userDrawn="1"/>
        </p:nvSpPr>
        <p:spPr>
          <a:xfrm>
            <a:off x="0" y="451458"/>
            <a:ext cx="228600" cy="685801"/>
          </a:xfrm>
          <a:custGeom>
            <a:avLst/>
            <a:gdLst/>
            <a:ahLst/>
            <a:cxnLst/>
            <a:rect l="l" t="t" r="r" b="b"/>
            <a:pathLst>
              <a:path w="228600" h="914400">
                <a:moveTo>
                  <a:pt x="0" y="914400"/>
                </a:moveTo>
                <a:lnTo>
                  <a:pt x="228600" y="914400"/>
                </a:lnTo>
                <a:lnTo>
                  <a:pt x="2286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D91E49"/>
          </a:solidFill>
        </p:spPr>
        <p:txBody>
          <a:bodyPr wrap="square" lIns="0" tIns="0" rIns="0" bIns="0" rtlCol="0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8775" y="451456"/>
            <a:ext cx="10694540" cy="6858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11277601" y="451457"/>
            <a:ext cx="685800" cy="6858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0" y="914400"/>
                </a:moveTo>
                <a:lnTo>
                  <a:pt x="914400" y="914400"/>
                </a:lnTo>
                <a:lnTo>
                  <a:pt x="914400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800" kern="1200" spc="-5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</a:lstStyle>
          <a:p>
            <a:fld id="{69AE0398-C5D1-4C23-8BB8-6DF786637B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622AE2-E893-4CC9-9800-9CF2D3FEB743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223" y="6315646"/>
            <a:ext cx="1278753" cy="349258"/>
          </a:xfrm>
          <a:prstGeom prst="rect">
            <a:avLst/>
          </a:prstGeom>
        </p:spPr>
      </p:pic>
    </p:spTree>
    <p:custDataLst>
      <p:tags r:id="rId15"/>
    </p:custDataLst>
    <p:extLst>
      <p:ext uri="{BB962C8B-B14F-4D97-AF65-F5344CB8AC3E}">
        <p14:creationId xmlns:p14="http://schemas.microsoft.com/office/powerpoint/2010/main" val="3399820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kern="1200" cap="none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85800" rtl="0" eaLnBrk="1" latinLnBrk="0" hangingPunct="1">
        <a:lnSpc>
          <a:spcPct val="120000"/>
        </a:lnSpc>
        <a:spcBef>
          <a:spcPts val="45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5022" indent="-175022" algn="l" defTabSz="685800" rtl="0" eaLnBrk="1" latinLnBrk="0" hangingPunct="1">
        <a:lnSpc>
          <a:spcPct val="120000"/>
        </a:lnSpc>
        <a:spcBef>
          <a:spcPts val="45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88144" indent="-175022" algn="l" defTabSz="685800" rtl="0" eaLnBrk="1" latinLnBrk="0" hangingPunct="1">
        <a:lnSpc>
          <a:spcPct val="120000"/>
        </a:lnSpc>
        <a:spcBef>
          <a:spcPts val="450"/>
        </a:spcBef>
        <a:spcAft>
          <a:spcPts val="300"/>
        </a:spcAft>
        <a:buFont typeface="Helvetica" panose="020B0604020202020204" pitchFamily="34" charset="0"/>
        <a:buChar char="‒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sv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68449" y="3362164"/>
            <a:ext cx="8838292" cy="1892223"/>
          </a:xfrm>
        </p:spPr>
        <p:txBody>
          <a:bodyPr>
            <a:normAutofit fontScale="92500" lnSpcReduction="10000"/>
          </a:bodyPr>
          <a:lstStyle/>
          <a:p>
            <a:pPr algn="just"/>
            <a:endParaRPr lang="en-US" dirty="0">
              <a:latin typeface="Lucida Sans" panose="020B0602030504020204" pitchFamily="34" charset="0"/>
            </a:endParaRPr>
          </a:p>
          <a:p>
            <a:pPr algn="just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RDP LT</a:t>
            </a:r>
          </a:p>
          <a:p>
            <a:pPr algn="just"/>
            <a:endParaRPr lang="en-US" dirty="0">
              <a:latin typeface="Lucida Sans" panose="020B0602030504020204" pitchFamily="34" charset="0"/>
            </a:endParaRPr>
          </a:p>
          <a:p>
            <a:pPr algn="just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March 2022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68449" y="1603613"/>
            <a:ext cx="9330210" cy="1800519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latin typeface="Lucida Sans" panose="020B0602030504020204" pitchFamily="34" charset="0"/>
              </a:rPr>
              <a:t>Advanced Intelligence Surveillance POC </a:t>
            </a:r>
            <a:br>
              <a:rPr lang="en-US" sz="3600" dirty="0">
                <a:latin typeface="Lucida Sans" panose="020B0602030504020204" pitchFamily="34" charset="0"/>
              </a:rPr>
            </a:br>
            <a:br>
              <a:rPr lang="en-US" sz="3600" dirty="0">
                <a:latin typeface="Lucida Sans" panose="020B0602030504020204" pitchFamily="34" charset="0"/>
              </a:rPr>
            </a:b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Executive Outcome Summary</a:t>
            </a:r>
            <a:endParaRPr lang="en-US" sz="3600" dirty="0">
              <a:solidFill>
                <a:schemeClr val="tx1">
                  <a:lumMod val="65000"/>
                  <a:lumOff val="35000"/>
                </a:schemeClr>
              </a:solidFill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59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27C48F-7BBE-4B16-B949-66F6EBCA6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9B960B-00CC-44AD-93BA-C3A213FA4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latin typeface="Lucida Sans" panose="020B0602030504020204" pitchFamily="34" charset="0"/>
              </a:rPr>
              <a:t>Possible AIS approach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E52C97A4-6CF6-4D52-8845-C3DC5A972E86}"/>
              </a:ext>
            </a:extLst>
          </p:cNvPr>
          <p:cNvSpPr/>
          <p:nvPr/>
        </p:nvSpPr>
        <p:spPr>
          <a:xfrm>
            <a:off x="3732197" y="5929810"/>
            <a:ext cx="3106763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FA27E41-6FBA-4DDF-8B64-E734ACFC2CC1}"/>
              </a:ext>
            </a:extLst>
          </p:cNvPr>
          <p:cNvCxnSpPr>
            <a:cxnSpLocks/>
          </p:cNvCxnSpPr>
          <p:nvPr/>
        </p:nvCxnSpPr>
        <p:spPr>
          <a:xfrm>
            <a:off x="2880390" y="1583631"/>
            <a:ext cx="42470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E82B752-3D8F-4E54-AAB2-5C6DA0BBB7CD}"/>
              </a:ext>
            </a:extLst>
          </p:cNvPr>
          <p:cNvSpPr txBox="1"/>
          <p:nvPr/>
        </p:nvSpPr>
        <p:spPr>
          <a:xfrm>
            <a:off x="2945042" y="1218787"/>
            <a:ext cx="4212605" cy="36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Foundation Compon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29C90E-9FE2-46C0-AE72-0BD49E8819F5}"/>
              </a:ext>
            </a:extLst>
          </p:cNvPr>
          <p:cNvSpPr txBox="1"/>
          <p:nvPr/>
        </p:nvSpPr>
        <p:spPr>
          <a:xfrm>
            <a:off x="3888735" y="4038658"/>
            <a:ext cx="22465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Development Tea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888C8E-7198-490E-AD76-5A1EE48590C2}"/>
              </a:ext>
            </a:extLst>
          </p:cNvPr>
          <p:cNvSpPr txBox="1"/>
          <p:nvPr/>
        </p:nvSpPr>
        <p:spPr>
          <a:xfrm>
            <a:off x="7424248" y="4094314"/>
            <a:ext cx="16706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Priority Use Case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5FEDB4-FDA4-48DF-8CD6-B60DE01492BE}"/>
              </a:ext>
            </a:extLst>
          </p:cNvPr>
          <p:cNvSpPr txBox="1"/>
          <p:nvPr/>
        </p:nvSpPr>
        <p:spPr>
          <a:xfrm>
            <a:off x="4000322" y="5914367"/>
            <a:ext cx="2282997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Business As Usual Servi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(Baseline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CDE30A7-8523-43E3-9639-454BD166E1D9}"/>
              </a:ext>
            </a:extLst>
          </p:cNvPr>
          <p:cNvCxnSpPr>
            <a:cxnSpLocks/>
          </p:cNvCxnSpPr>
          <p:nvPr/>
        </p:nvCxnSpPr>
        <p:spPr>
          <a:xfrm>
            <a:off x="6838960" y="6119128"/>
            <a:ext cx="4711224" cy="0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utoShape 250">
            <a:extLst>
              <a:ext uri="{FF2B5EF4-FFF2-40B4-BE49-F238E27FC236}">
                <a16:creationId xmlns:a16="http://schemas.microsoft.com/office/drawing/2014/main" id="{7DDE9C01-E6FA-430F-9CE2-80FF663EB7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6500" y="1294984"/>
            <a:ext cx="2111828" cy="30162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4384" anchor="b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ja-JP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rPr>
              <a:t>Pilot in real world</a:t>
            </a: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id="{48424002-9EDE-42F0-ACD8-7FDC676FA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173" y="1276428"/>
            <a:ext cx="2362614" cy="30162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4384" anchor="b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ja-JP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rPr>
              <a:t>Maintain &amp; Enhanc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CA126DF-5A57-467B-9A7B-CA1BD0CD135E}"/>
              </a:ext>
            </a:extLst>
          </p:cNvPr>
          <p:cNvGrpSpPr/>
          <p:nvPr/>
        </p:nvGrpSpPr>
        <p:grpSpPr>
          <a:xfrm>
            <a:off x="9374038" y="1457527"/>
            <a:ext cx="271873" cy="235983"/>
            <a:chOff x="11705010" y="574369"/>
            <a:chExt cx="271873" cy="235983"/>
          </a:xfrm>
        </p:grpSpPr>
        <p:sp>
          <p:nvSpPr>
            <p:cNvPr id="34" name="Chevron 55">
              <a:extLst>
                <a:ext uri="{FF2B5EF4-FFF2-40B4-BE49-F238E27FC236}">
                  <a16:creationId xmlns:a16="http://schemas.microsoft.com/office/drawing/2014/main" id="{861517FF-D302-48CE-BAB5-C3471572D6BE}"/>
                </a:ext>
              </a:extLst>
            </p:cNvPr>
            <p:cNvSpPr/>
            <p:nvPr/>
          </p:nvSpPr>
          <p:spPr>
            <a:xfrm>
              <a:off x="11705010" y="629022"/>
              <a:ext cx="126675" cy="126676"/>
            </a:xfrm>
            <a:prstGeom prst="chevron">
              <a:avLst/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35" name="Chevron 56">
              <a:extLst>
                <a:ext uri="{FF2B5EF4-FFF2-40B4-BE49-F238E27FC236}">
                  <a16:creationId xmlns:a16="http://schemas.microsoft.com/office/drawing/2014/main" id="{32AE12D3-FEFC-44B2-B2E6-1AE2CE567EB2}"/>
                </a:ext>
              </a:extLst>
            </p:cNvPr>
            <p:cNvSpPr/>
            <p:nvPr/>
          </p:nvSpPr>
          <p:spPr>
            <a:xfrm>
              <a:off x="11740900" y="574369"/>
              <a:ext cx="235983" cy="235983"/>
            </a:xfrm>
            <a:prstGeom prst="chevron">
              <a:avLst>
                <a:gd name="adj" fmla="val 47413"/>
              </a:avLst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48A0880-C9AA-46F5-B7C8-7FCD0279D7A2}"/>
              </a:ext>
            </a:extLst>
          </p:cNvPr>
          <p:cNvCxnSpPr/>
          <p:nvPr/>
        </p:nvCxnSpPr>
        <p:spPr>
          <a:xfrm>
            <a:off x="7278303" y="1583631"/>
            <a:ext cx="2095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FBE44E6-1DDE-4CCB-8099-7EED6057C506}"/>
              </a:ext>
            </a:extLst>
          </p:cNvPr>
          <p:cNvCxnSpPr/>
          <p:nvPr/>
        </p:nvCxnSpPr>
        <p:spPr>
          <a:xfrm>
            <a:off x="9689864" y="1583631"/>
            <a:ext cx="2095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452CF16-0306-48D2-B659-AD74F463CA9A}"/>
              </a:ext>
            </a:extLst>
          </p:cNvPr>
          <p:cNvGrpSpPr/>
          <p:nvPr/>
        </p:nvGrpSpPr>
        <p:grpSpPr>
          <a:xfrm>
            <a:off x="6936218" y="1457527"/>
            <a:ext cx="271873" cy="235983"/>
            <a:chOff x="11705010" y="574369"/>
            <a:chExt cx="271873" cy="235983"/>
          </a:xfrm>
        </p:grpSpPr>
        <p:sp>
          <p:nvSpPr>
            <p:cNvPr id="39" name="Chevron 55">
              <a:extLst>
                <a:ext uri="{FF2B5EF4-FFF2-40B4-BE49-F238E27FC236}">
                  <a16:creationId xmlns:a16="http://schemas.microsoft.com/office/drawing/2014/main" id="{FF175088-9684-4494-871B-0E7A0AC05BA3}"/>
                </a:ext>
              </a:extLst>
            </p:cNvPr>
            <p:cNvSpPr/>
            <p:nvPr/>
          </p:nvSpPr>
          <p:spPr>
            <a:xfrm>
              <a:off x="11705010" y="629022"/>
              <a:ext cx="126675" cy="126676"/>
            </a:xfrm>
            <a:prstGeom prst="chevron">
              <a:avLst/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40" name="Chevron 56">
              <a:extLst>
                <a:ext uri="{FF2B5EF4-FFF2-40B4-BE49-F238E27FC236}">
                  <a16:creationId xmlns:a16="http://schemas.microsoft.com/office/drawing/2014/main" id="{5EF8358F-A186-4D56-94FD-189D041EA6FC}"/>
                </a:ext>
              </a:extLst>
            </p:cNvPr>
            <p:cNvSpPr/>
            <p:nvPr/>
          </p:nvSpPr>
          <p:spPr>
            <a:xfrm>
              <a:off x="11740900" y="574369"/>
              <a:ext cx="235983" cy="235983"/>
            </a:xfrm>
            <a:prstGeom prst="chevron">
              <a:avLst>
                <a:gd name="adj" fmla="val 47413"/>
              </a:avLst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</p:grp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AAB976AE-D969-4AD9-9B56-82BFAA2A8EF1}"/>
              </a:ext>
            </a:extLst>
          </p:cNvPr>
          <p:cNvSpPr/>
          <p:nvPr/>
        </p:nvSpPr>
        <p:spPr>
          <a:xfrm>
            <a:off x="6937560" y="4638014"/>
            <a:ext cx="2809045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Regulatory Use Cases</a:t>
            </a: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B3AD7B72-5E29-470C-AC69-A126A6AFD0C7}"/>
              </a:ext>
            </a:extLst>
          </p:cNvPr>
          <p:cNvSpPr/>
          <p:nvPr/>
        </p:nvSpPr>
        <p:spPr>
          <a:xfrm>
            <a:off x="6937429" y="5142073"/>
            <a:ext cx="2814746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Quality Use Case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627EFE6-1E7B-4E28-AC01-38EEA95A999C}"/>
              </a:ext>
            </a:extLst>
          </p:cNvPr>
          <p:cNvCxnSpPr>
            <a:cxnSpLocks/>
          </p:cNvCxnSpPr>
          <p:nvPr/>
        </p:nvCxnSpPr>
        <p:spPr>
          <a:xfrm>
            <a:off x="3805008" y="4463620"/>
            <a:ext cx="6067" cy="144739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0F5FD3A-3699-4CE7-97CA-BB89169D09AF}"/>
              </a:ext>
            </a:extLst>
          </p:cNvPr>
          <p:cNvCxnSpPr>
            <a:cxnSpLocks/>
          </p:cNvCxnSpPr>
          <p:nvPr/>
        </p:nvCxnSpPr>
        <p:spPr>
          <a:xfrm>
            <a:off x="4503264" y="4463620"/>
            <a:ext cx="6067" cy="144739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50DCF60-6648-47C3-8647-8AABF102628A}"/>
              </a:ext>
            </a:extLst>
          </p:cNvPr>
          <p:cNvCxnSpPr>
            <a:cxnSpLocks/>
          </p:cNvCxnSpPr>
          <p:nvPr/>
        </p:nvCxnSpPr>
        <p:spPr>
          <a:xfrm>
            <a:off x="5199688" y="4463620"/>
            <a:ext cx="6067" cy="144739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2BAEC61-3446-4964-BAFC-9D2C9A221DEF}"/>
              </a:ext>
            </a:extLst>
          </p:cNvPr>
          <p:cNvCxnSpPr>
            <a:cxnSpLocks/>
          </p:cNvCxnSpPr>
          <p:nvPr/>
        </p:nvCxnSpPr>
        <p:spPr>
          <a:xfrm>
            <a:off x="6067302" y="4463620"/>
            <a:ext cx="6067" cy="144739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23F9047-0D07-4482-9F06-03C99317C477}"/>
              </a:ext>
            </a:extLst>
          </p:cNvPr>
          <p:cNvCxnSpPr>
            <a:cxnSpLocks/>
          </p:cNvCxnSpPr>
          <p:nvPr/>
        </p:nvCxnSpPr>
        <p:spPr>
          <a:xfrm flipV="1">
            <a:off x="3553097" y="5903222"/>
            <a:ext cx="3296606" cy="9898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C9366521-2E54-4938-B3BE-E516BBA2E633}"/>
              </a:ext>
            </a:extLst>
          </p:cNvPr>
          <p:cNvSpPr txBox="1"/>
          <p:nvPr/>
        </p:nvSpPr>
        <p:spPr>
          <a:xfrm>
            <a:off x="10057512" y="3892817"/>
            <a:ext cx="1615927" cy="55399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End to end use cases delivered at speed via iterative developmen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7F97DD1-FAAB-462D-9E23-49235A7832C5}"/>
              </a:ext>
            </a:extLst>
          </p:cNvPr>
          <p:cNvSpPr txBox="1"/>
          <p:nvPr/>
        </p:nvSpPr>
        <p:spPr>
          <a:xfrm>
            <a:off x="3605011" y="4161321"/>
            <a:ext cx="3016055" cy="40011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Foundational components necessary to enable end to end use cases delivery (</a:t>
            </a:r>
            <a:r>
              <a:rPr kumimoji="0" lang="en-GB" sz="1000" b="0" i="1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MvP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CE511DC-B673-4F03-8C30-903AF33DF50D}"/>
              </a:ext>
            </a:extLst>
          </p:cNvPr>
          <p:cNvCxnSpPr>
            <a:cxnSpLocks/>
          </p:cNvCxnSpPr>
          <p:nvPr/>
        </p:nvCxnSpPr>
        <p:spPr>
          <a:xfrm>
            <a:off x="2654345" y="1791441"/>
            <a:ext cx="0" cy="454102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37D4F2AF-A794-43B4-8DF1-0B697DD123C2}"/>
              </a:ext>
            </a:extLst>
          </p:cNvPr>
          <p:cNvSpPr txBox="1"/>
          <p:nvPr/>
        </p:nvSpPr>
        <p:spPr>
          <a:xfrm>
            <a:off x="246979" y="1209029"/>
            <a:ext cx="2111829" cy="36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Proof of Value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7325DC4-B1DA-4E1A-8E52-4347C1CF9B79}"/>
              </a:ext>
            </a:extLst>
          </p:cNvPr>
          <p:cNvGrpSpPr/>
          <p:nvPr/>
        </p:nvGrpSpPr>
        <p:grpSpPr>
          <a:xfrm>
            <a:off x="2571288" y="1451749"/>
            <a:ext cx="271873" cy="235983"/>
            <a:chOff x="11705010" y="574369"/>
            <a:chExt cx="271873" cy="235983"/>
          </a:xfrm>
        </p:grpSpPr>
        <p:sp>
          <p:nvSpPr>
            <p:cNvPr id="56" name="Chevron 55">
              <a:extLst>
                <a:ext uri="{FF2B5EF4-FFF2-40B4-BE49-F238E27FC236}">
                  <a16:creationId xmlns:a16="http://schemas.microsoft.com/office/drawing/2014/main" id="{7EEAA8D9-3903-45D9-B8DD-0F635717A98E}"/>
                </a:ext>
              </a:extLst>
            </p:cNvPr>
            <p:cNvSpPr/>
            <p:nvPr/>
          </p:nvSpPr>
          <p:spPr>
            <a:xfrm>
              <a:off x="11705010" y="629022"/>
              <a:ext cx="126675" cy="126676"/>
            </a:xfrm>
            <a:prstGeom prst="chevron">
              <a:avLst/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  <p:sp>
          <p:nvSpPr>
            <p:cNvPr id="57" name="Chevron 56">
              <a:extLst>
                <a:ext uri="{FF2B5EF4-FFF2-40B4-BE49-F238E27FC236}">
                  <a16:creationId xmlns:a16="http://schemas.microsoft.com/office/drawing/2014/main" id="{1075D0E6-5C1D-4681-9BE6-EC1678D1348D}"/>
                </a:ext>
              </a:extLst>
            </p:cNvPr>
            <p:cNvSpPr/>
            <p:nvPr/>
          </p:nvSpPr>
          <p:spPr>
            <a:xfrm>
              <a:off x="11740900" y="574369"/>
              <a:ext cx="235983" cy="235983"/>
            </a:xfrm>
            <a:prstGeom prst="chevron">
              <a:avLst>
                <a:gd name="adj" fmla="val 47413"/>
              </a:avLst>
            </a:prstGeom>
            <a:solidFill>
              <a:srgbClr val="FFC0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err="1">
                <a:ln>
                  <a:noFill/>
                </a:ln>
                <a:solidFill>
                  <a:srgbClr val="047764"/>
                </a:solidFill>
                <a:effectLst/>
                <a:uLnTx/>
                <a:uFillTx/>
                <a:latin typeface="Lucida Sans" panose="020B0602030504020204" pitchFamily="34" charset="0"/>
                <a:ea typeface="ＭＳ Ｐゴシック"/>
                <a:cs typeface="Segoe UI" panose="020B0502040204020203" pitchFamily="34" charset="0"/>
              </a:endParaRPr>
            </a:p>
          </p:txBody>
        </p:sp>
      </p:grp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A181447B-CBB8-4FEC-98D0-A82F071360EB}"/>
              </a:ext>
            </a:extLst>
          </p:cNvPr>
          <p:cNvSpPr/>
          <p:nvPr/>
        </p:nvSpPr>
        <p:spPr>
          <a:xfrm>
            <a:off x="3100721" y="1685808"/>
            <a:ext cx="3425450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721799-12CC-4999-8E74-5DD5EF5AE641}"/>
              </a:ext>
            </a:extLst>
          </p:cNvPr>
          <p:cNvSpPr txBox="1"/>
          <p:nvPr/>
        </p:nvSpPr>
        <p:spPr>
          <a:xfrm>
            <a:off x="3095796" y="1664079"/>
            <a:ext cx="334895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Governance &amp; Demand 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(Baseline 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BEA1E35-BC45-4505-AD9A-261046609A7E}"/>
              </a:ext>
            </a:extLst>
          </p:cNvPr>
          <p:cNvSpPr txBox="1"/>
          <p:nvPr/>
        </p:nvSpPr>
        <p:spPr>
          <a:xfrm>
            <a:off x="8246321" y="5986539"/>
            <a:ext cx="1615927" cy="384373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Delivery Increments</a:t>
            </a: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254A79F3-8F67-4A3A-8C7D-49F8A5C7F161}"/>
              </a:ext>
            </a:extLst>
          </p:cNvPr>
          <p:cNvSpPr/>
          <p:nvPr/>
        </p:nvSpPr>
        <p:spPr>
          <a:xfrm>
            <a:off x="246979" y="1679365"/>
            <a:ext cx="2212037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Prototype Solution</a:t>
            </a:r>
          </a:p>
        </p:txBody>
      </p:sp>
      <p:sp>
        <p:nvSpPr>
          <p:cNvPr id="68" name="Arrow: Right 67">
            <a:extLst>
              <a:ext uri="{FF2B5EF4-FFF2-40B4-BE49-F238E27FC236}">
                <a16:creationId xmlns:a16="http://schemas.microsoft.com/office/drawing/2014/main" id="{7FB3CE27-EA4A-4EFB-B110-2E0D3C0BE336}"/>
              </a:ext>
            </a:extLst>
          </p:cNvPr>
          <p:cNvSpPr/>
          <p:nvPr/>
        </p:nvSpPr>
        <p:spPr>
          <a:xfrm>
            <a:off x="246979" y="2150779"/>
            <a:ext cx="2212037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Proof of Value</a:t>
            </a:r>
          </a:p>
        </p:txBody>
      </p: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1E41257E-F09E-48CD-A72C-918667A33539}"/>
              </a:ext>
            </a:extLst>
          </p:cNvPr>
          <p:cNvSpPr/>
          <p:nvPr/>
        </p:nvSpPr>
        <p:spPr>
          <a:xfrm>
            <a:off x="233224" y="2622193"/>
            <a:ext cx="2212037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Future Demand</a:t>
            </a:r>
          </a:p>
        </p:txBody>
      </p: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9A1E514D-75A7-4F9F-AF47-676259322544}"/>
              </a:ext>
            </a:extLst>
          </p:cNvPr>
          <p:cNvSpPr/>
          <p:nvPr/>
        </p:nvSpPr>
        <p:spPr>
          <a:xfrm>
            <a:off x="9817725" y="5312586"/>
            <a:ext cx="2095500" cy="430887"/>
          </a:xfrm>
          <a:prstGeom prst="rightArrow">
            <a:avLst>
              <a:gd name="adj1" fmla="val 96753"/>
              <a:gd name="adj2" fmla="val 3052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Other Use Cases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8B1442C-275A-4F89-8875-1A583624DE12}"/>
              </a:ext>
            </a:extLst>
          </p:cNvPr>
          <p:cNvGrpSpPr/>
          <p:nvPr/>
        </p:nvGrpSpPr>
        <p:grpSpPr>
          <a:xfrm>
            <a:off x="3424253" y="3132521"/>
            <a:ext cx="8158147" cy="430887"/>
            <a:chOff x="3424253" y="3132521"/>
            <a:chExt cx="8158147" cy="430887"/>
          </a:xfrm>
        </p:grpSpPr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600BEC82-A8B7-43D0-8AC6-652C9B7E2C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38960" y="3346267"/>
              <a:ext cx="4743440" cy="8595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42CB2916-0DA4-4229-8E60-DE27300C0F0A}"/>
                </a:ext>
              </a:extLst>
            </p:cNvPr>
            <p:cNvSpPr/>
            <p:nvPr/>
          </p:nvSpPr>
          <p:spPr>
            <a:xfrm>
              <a:off x="3424253" y="3132521"/>
              <a:ext cx="3425450" cy="430887"/>
            </a:xfrm>
            <a:prstGeom prst="rightArrow">
              <a:avLst>
                <a:gd name="adj1" fmla="val 96753"/>
                <a:gd name="adj2" fmla="val 3052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Front End &amp; Analytical Tool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(Baseline)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6CAE8691-E8B4-432A-8A73-F3BE55ECB3FE}"/>
              </a:ext>
            </a:extLst>
          </p:cNvPr>
          <p:cNvGrpSpPr/>
          <p:nvPr/>
        </p:nvGrpSpPr>
        <p:grpSpPr>
          <a:xfrm>
            <a:off x="3424253" y="2659264"/>
            <a:ext cx="8158147" cy="430887"/>
            <a:chOff x="3424253" y="2659264"/>
            <a:chExt cx="8158147" cy="430887"/>
          </a:xfrm>
        </p:grpSpPr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44A073C5-6BD2-4D16-B43C-0789422B6BD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38960" y="2867767"/>
              <a:ext cx="4743440" cy="8595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D9348CEE-ADAD-4963-98BA-72CBFC50DEFB}"/>
                </a:ext>
              </a:extLst>
            </p:cNvPr>
            <p:cNvSpPr/>
            <p:nvPr/>
          </p:nvSpPr>
          <p:spPr>
            <a:xfrm>
              <a:off x="3424253" y="2659264"/>
              <a:ext cx="3425450" cy="430887"/>
            </a:xfrm>
            <a:prstGeom prst="rightArrow">
              <a:avLst>
                <a:gd name="adj1" fmla="val 96753"/>
                <a:gd name="adj2" fmla="val 3052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NL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(Baseline)</a:t>
              </a:r>
            </a:p>
          </p:txBody>
        </p:sp>
      </p:grp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EB02383-D95B-4EE8-8E87-2BFFEDB527A3}"/>
              </a:ext>
            </a:extLst>
          </p:cNvPr>
          <p:cNvCxnSpPr>
            <a:cxnSpLocks/>
          </p:cNvCxnSpPr>
          <p:nvPr/>
        </p:nvCxnSpPr>
        <p:spPr>
          <a:xfrm>
            <a:off x="6526171" y="1909018"/>
            <a:ext cx="5056229" cy="7095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A713C2C-E70F-46E0-9E99-9E93E16AEDDD}"/>
              </a:ext>
            </a:extLst>
          </p:cNvPr>
          <p:cNvGrpSpPr/>
          <p:nvPr/>
        </p:nvGrpSpPr>
        <p:grpSpPr>
          <a:xfrm>
            <a:off x="3422216" y="2186007"/>
            <a:ext cx="8160184" cy="430887"/>
            <a:chOff x="3422216" y="2186007"/>
            <a:chExt cx="8160184" cy="430887"/>
          </a:xfrm>
        </p:grpSpPr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865961C2-3BCA-4DE7-8E87-4EB73069B1C9}"/>
                </a:ext>
              </a:extLst>
            </p:cNvPr>
            <p:cNvSpPr/>
            <p:nvPr/>
          </p:nvSpPr>
          <p:spPr>
            <a:xfrm>
              <a:off x="3422216" y="2186007"/>
              <a:ext cx="3425450" cy="430887"/>
            </a:xfrm>
            <a:prstGeom prst="rightArrow">
              <a:avLst>
                <a:gd name="adj1" fmla="val 96753"/>
                <a:gd name="adj2" fmla="val 3052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Storage &amp; Architecture Patterns </a:t>
              </a: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(Baseline)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endParaRPr>
            </a:p>
          </p:txBody>
        </p: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C8F34EFF-577C-42C4-B2CE-78FF03C43A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38960" y="2377393"/>
              <a:ext cx="4743440" cy="8595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BC3F1C2-0FC8-43CA-8B6A-E05121A8127E}"/>
              </a:ext>
            </a:extLst>
          </p:cNvPr>
          <p:cNvGrpSpPr/>
          <p:nvPr/>
        </p:nvGrpSpPr>
        <p:grpSpPr>
          <a:xfrm>
            <a:off x="3432960" y="3597070"/>
            <a:ext cx="8149440" cy="430887"/>
            <a:chOff x="3432960" y="3518689"/>
            <a:chExt cx="8149440" cy="430887"/>
          </a:xfrm>
        </p:grpSpPr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82DF553A-F999-45A6-AA6B-8ACF313815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38960" y="3725075"/>
              <a:ext cx="4743440" cy="8595"/>
            </a:xfrm>
            <a:prstGeom prst="straightConnector1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Arrow: Right 71">
              <a:extLst>
                <a:ext uri="{FF2B5EF4-FFF2-40B4-BE49-F238E27FC236}">
                  <a16:creationId xmlns:a16="http://schemas.microsoft.com/office/drawing/2014/main" id="{B4615826-6530-48E5-BB20-2A7D864A4C47}"/>
                </a:ext>
              </a:extLst>
            </p:cNvPr>
            <p:cNvSpPr/>
            <p:nvPr/>
          </p:nvSpPr>
          <p:spPr>
            <a:xfrm>
              <a:off x="3432960" y="3518689"/>
              <a:ext cx="3425450" cy="430887"/>
            </a:xfrm>
            <a:prstGeom prst="rightArrow">
              <a:avLst>
                <a:gd name="adj1" fmla="val 96753"/>
                <a:gd name="adj2" fmla="val 3052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Business Proces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Segoe UI" panose="020B0502040204020203" pitchFamily="34" charset="0"/>
                </a:rPr>
                <a:t>(Baseline)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C5C01DCB-DE1A-4D94-96C4-FA5D28BB1DB5}"/>
              </a:ext>
            </a:extLst>
          </p:cNvPr>
          <p:cNvSpPr txBox="1"/>
          <p:nvPr/>
        </p:nvSpPr>
        <p:spPr>
          <a:xfrm>
            <a:off x="8293175" y="1834985"/>
            <a:ext cx="1615927" cy="205243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Delivery Increments</a:t>
            </a:r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7E586B79-FC76-49DF-ABEF-27C9777CECDB}"/>
              </a:ext>
            </a:extLst>
          </p:cNvPr>
          <p:cNvSpPr/>
          <p:nvPr/>
        </p:nvSpPr>
        <p:spPr>
          <a:xfrm>
            <a:off x="3422217" y="2156266"/>
            <a:ext cx="3536590" cy="1440000"/>
          </a:xfrm>
          <a:prstGeom prst="rightArrow">
            <a:avLst>
              <a:gd name="adj1" fmla="val 96753"/>
              <a:gd name="adj2" fmla="val 10229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Segoe UI" panose="020B0502040204020203" pitchFamily="34" charset="0"/>
              </a:rPr>
              <a:t>New Environment, Migration &amp; SLC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438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66CC2-7FB0-4FDD-9BCC-1D049636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GB" b="1" dirty="0"/>
              <a:t>Take away mes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1099AB-2254-41B5-95B0-CF4067F16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>
                <a:latin typeface="Lucida Sans" panose="020B0602030504020204" pitchFamily="34" charset="0"/>
              </a:rPr>
              <a:t>11</a:t>
            </a:fld>
            <a:endParaRPr lang="en-US">
              <a:latin typeface="Lucida Sans" panose="020B060203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66CDDF-2FC6-4CFE-9A27-55B8F4B5742D}"/>
              </a:ext>
            </a:extLst>
          </p:cNvPr>
          <p:cNvSpPr txBox="1"/>
          <p:nvPr/>
        </p:nvSpPr>
        <p:spPr>
          <a:xfrm>
            <a:off x="683491" y="1550834"/>
            <a:ext cx="8783782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GB" sz="1800" b="1" dirty="0">
                <a:solidFill>
                  <a:schemeClr val="tx2"/>
                </a:solidFill>
                <a:latin typeface="Lucida Sans" panose="020B0602030504020204" pitchFamily="34" charset="0"/>
              </a:rPr>
              <a:t>Awareness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800" b="1" dirty="0">
                <a:solidFill>
                  <a:schemeClr val="tx2"/>
                </a:solidFill>
                <a:latin typeface="Lucida Sans" panose="020B0602030504020204" pitchFamily="34" charset="0"/>
              </a:rPr>
              <a:t>The concept is feasible using internal capability and value has been realised and early adopters interested in real world pilot and have identified more demand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800" b="1" dirty="0">
                <a:solidFill>
                  <a:schemeClr val="tx2"/>
                </a:solidFill>
                <a:latin typeface="Lucida Sans" panose="020B0602030504020204" pitchFamily="34" charset="0"/>
              </a:rPr>
              <a:t>Lessons Learned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800" b="1" dirty="0">
                <a:solidFill>
                  <a:schemeClr val="tx2"/>
                </a:solidFill>
                <a:latin typeface="Lucida Sans" panose="020B0602030504020204" pitchFamily="34" charset="0"/>
              </a:rPr>
              <a:t>Our thoughts / consideration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GB" sz="1800" b="1" dirty="0">
                <a:solidFill>
                  <a:schemeClr val="tx2"/>
                </a:solidFill>
                <a:latin typeface="Lucida Sans" panose="020B0602030504020204" pitchFamily="34" charset="0"/>
              </a:rPr>
              <a:t>Agree Next Steps</a:t>
            </a:r>
          </a:p>
        </p:txBody>
      </p:sp>
    </p:spTree>
    <p:extLst>
      <p:ext uri="{BB962C8B-B14F-4D97-AF65-F5344CB8AC3E}">
        <p14:creationId xmlns:p14="http://schemas.microsoft.com/office/powerpoint/2010/main" val="4150510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749881-0A04-4E4E-8E67-720D03DB21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ppendix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4277A1-12EC-4981-AF8E-2F1FC8721F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57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51F3-8606-4F59-AE18-A4DF8A5DA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457200"/>
            <a:ext cx="10969925" cy="699574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solidFill>
                  <a:schemeClr val="tx2"/>
                </a:solidFill>
                <a:latin typeface="Lucida Sans" panose="020B0602030504020204" pitchFamily="34" charset="0"/>
                <a:ea typeface="+mj-ea"/>
                <a:cs typeface="Arial" panose="020B0604020202020204" pitchFamily="34" charset="0"/>
              </a:rPr>
              <a:t>Phase Closeout Activiti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0E854-78E9-4023-B62E-9BDBF80240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1474" y="1333500"/>
            <a:ext cx="10969925" cy="5334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66700" indent="-266700"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Lucida Sans" panose="020B0602030504020204" pitchFamily="34" charset="0"/>
                <a:cs typeface="Calibri"/>
              </a:rPr>
              <a:t>Investment proposal &amp; Financing for potential Next Phase</a:t>
            </a:r>
          </a:p>
          <a:p>
            <a:pPr marL="266700" lvl="1" indent="-266700">
              <a:lnSpc>
                <a:spcPct val="110000"/>
              </a:lnSpc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Lucida Sans" panose="020B0602030504020204" pitchFamily="34" charset="0"/>
                <a:cs typeface="Calibri"/>
              </a:rPr>
              <a:t>Deliverables &amp; Supporting documentation location</a:t>
            </a:r>
          </a:p>
          <a:p>
            <a:pPr marL="266700" lvl="1" indent="-266700">
              <a:lnSpc>
                <a:spcPct val="110000"/>
              </a:lnSpc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Lucida Sans" panose="020B0602030504020204" pitchFamily="34" charset="0"/>
                <a:cs typeface="Calibri"/>
              </a:rPr>
              <a:t>Socialization with wider Astellas</a:t>
            </a:r>
          </a:p>
          <a:p>
            <a:pPr lvl="1"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bg2">
                  <a:lumMod val="50000"/>
                </a:schemeClr>
              </a:solidFill>
              <a:latin typeface="Lucida Sans" panose="020B0602030504020204" pitchFamily="34" charset="0"/>
              <a:cs typeface="Calibri"/>
            </a:endParaRPr>
          </a:p>
          <a:p>
            <a:pPr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bg2">
                  <a:lumMod val="50000"/>
                </a:schemeClr>
              </a:solidFill>
              <a:latin typeface="Lucida Sans" panose="020B0602030504020204" pitchFamily="34" charset="0"/>
              <a:cs typeface="Calibri"/>
            </a:endParaRPr>
          </a:p>
          <a:p>
            <a:pPr marL="0" indent="0">
              <a:spcBef>
                <a:spcPts val="1500"/>
              </a:spcBef>
              <a:spcAft>
                <a:spcPts val="1500"/>
              </a:spcAft>
              <a:buNone/>
            </a:pPr>
            <a:endParaRPr lang="en-US" dirty="0">
              <a:solidFill>
                <a:schemeClr val="bg2">
                  <a:lumMod val="50000"/>
                </a:schemeClr>
              </a:solidFill>
              <a:latin typeface="Lucida Sans" panose="020B0602030504020204" pitchFamily="34" charset="0"/>
              <a:cs typeface="Calibri"/>
            </a:endParaRPr>
          </a:p>
          <a:p>
            <a:pPr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bg2">
                  <a:lumMod val="50000"/>
                </a:schemeClr>
              </a:solidFill>
              <a:latin typeface="Lucida Sans" panose="020B0602030504020204" pitchFamily="34" charset="0"/>
              <a:cs typeface="Calibri"/>
            </a:endParaRPr>
          </a:p>
          <a:p>
            <a:pPr>
              <a:spcBef>
                <a:spcPts val="1500"/>
              </a:spcBef>
              <a:spcAft>
                <a:spcPts val="15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bg2">
                  <a:lumMod val="50000"/>
                </a:schemeClr>
              </a:solidFill>
              <a:latin typeface="Lucida Sans" panose="020B0602030504020204" pitchFamily="34" charset="0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771762-CA3A-4DA7-9E52-786542FFA395}"/>
              </a:ext>
            </a:extLst>
          </p:cNvPr>
          <p:cNvSpPr txBox="1">
            <a:spLocks/>
          </p:cNvSpPr>
          <p:nvPr/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9AE0398-C5D1-4C23-8BB8-6DF786637BD0}" type="slidenum">
              <a:rPr lang="en-US" smtClean="0">
                <a:latin typeface="Lucida Sans" panose="020B0602030504020204" pitchFamily="34" charset="0"/>
              </a:rPr>
              <a:pPr algn="ctr"/>
              <a:t>13</a:t>
            </a:fld>
            <a:endParaRPr lang="en-US"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632884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E3F7B4B-8640-4734-927B-8EA90591D7FF}"/>
              </a:ext>
            </a:extLst>
          </p:cNvPr>
          <p:cNvSpPr txBox="1"/>
          <p:nvPr/>
        </p:nvSpPr>
        <p:spPr>
          <a:xfrm>
            <a:off x="443906" y="665688"/>
            <a:ext cx="78954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4C4D4F">
                    <a:lumMod val="95000"/>
                    <a:lumOff val="5000"/>
                  </a:srgbClr>
                </a:solidFill>
                <a:effectLst/>
                <a:uLnTx/>
                <a:uFillTx/>
                <a:latin typeface="Lucida Sans" panose="020B0602030504020204" pitchFamily="34" charset="0"/>
              </a:rPr>
              <a:t>Prototype Lifecycle &amp; Deliverabl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E2A505E-BDE1-4888-B9DC-6F2FCE26845B}"/>
              </a:ext>
            </a:extLst>
          </p:cNvPr>
          <p:cNvGrpSpPr/>
          <p:nvPr/>
        </p:nvGrpSpPr>
        <p:grpSpPr>
          <a:xfrm>
            <a:off x="669601" y="2134352"/>
            <a:ext cx="11306628" cy="1883445"/>
            <a:chOff x="794441" y="2004251"/>
            <a:chExt cx="11306628" cy="1883445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93942BF-275E-41B3-8E26-FBD589258011}"/>
                </a:ext>
              </a:extLst>
            </p:cNvPr>
            <p:cNvCxnSpPr/>
            <p:nvPr/>
          </p:nvCxnSpPr>
          <p:spPr>
            <a:xfrm>
              <a:off x="3514417" y="2324290"/>
              <a:ext cx="0" cy="1476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169E0DA-B04D-448A-97D2-4F8BC333B821}"/>
                </a:ext>
              </a:extLst>
            </p:cNvPr>
            <p:cNvSpPr txBox="1"/>
            <p:nvPr/>
          </p:nvSpPr>
          <p:spPr>
            <a:xfrm>
              <a:off x="847477" y="2050418"/>
              <a:ext cx="21684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Acquisition and Integration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4F4FEB-88F5-489D-8963-C6FE9056B49F}"/>
                </a:ext>
              </a:extLst>
            </p:cNvPr>
            <p:cNvSpPr txBox="1"/>
            <p:nvPr/>
          </p:nvSpPr>
          <p:spPr>
            <a:xfrm>
              <a:off x="3740753" y="2009371"/>
              <a:ext cx="21684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Transformation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DC60629-F486-40D6-B42A-6F64A037513E}"/>
                </a:ext>
              </a:extLst>
            </p:cNvPr>
            <p:cNvCxnSpPr/>
            <p:nvPr/>
          </p:nvCxnSpPr>
          <p:spPr>
            <a:xfrm>
              <a:off x="6346880" y="2389604"/>
              <a:ext cx="0" cy="1476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1CFCF47-B3F0-4AF2-AA10-2E3CB2AD8ED3}"/>
                </a:ext>
              </a:extLst>
            </p:cNvPr>
            <p:cNvSpPr txBox="1"/>
            <p:nvPr/>
          </p:nvSpPr>
          <p:spPr>
            <a:xfrm>
              <a:off x="6501148" y="2024878"/>
              <a:ext cx="21684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Enrichment &amp; Storage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9A23749-DD13-4CFF-9AFF-B2F0EE220013}"/>
                </a:ext>
              </a:extLst>
            </p:cNvPr>
            <p:cNvCxnSpPr/>
            <p:nvPr/>
          </p:nvCxnSpPr>
          <p:spPr>
            <a:xfrm>
              <a:off x="9179343" y="2389604"/>
              <a:ext cx="0" cy="1476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9D4760-99FC-43F9-9323-61BE56EC2EA2}"/>
                </a:ext>
              </a:extLst>
            </p:cNvPr>
            <p:cNvSpPr txBox="1"/>
            <p:nvPr/>
          </p:nvSpPr>
          <p:spPr>
            <a:xfrm>
              <a:off x="9364723" y="2004251"/>
              <a:ext cx="21684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Distribution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FECFCDB-00C3-40A6-9E95-10D0EFF0EA09}"/>
                </a:ext>
              </a:extLst>
            </p:cNvPr>
            <p:cNvSpPr/>
            <p:nvPr/>
          </p:nvSpPr>
          <p:spPr>
            <a:xfrm>
              <a:off x="794441" y="2686750"/>
              <a:ext cx="2476133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Diverse information is acquired and integrated in real-time from a large catalogue of content sources and connector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90E7B4-DC0F-4B2D-A938-9DA805DBF757}"/>
                </a:ext>
              </a:extLst>
            </p:cNvPr>
            <p:cNvSpPr/>
            <p:nvPr/>
          </p:nvSpPr>
          <p:spPr>
            <a:xfrm>
              <a:off x="3758261" y="2686750"/>
              <a:ext cx="2168426" cy="5770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The information is then transformed into a normalized forma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4C10BF6-236E-4519-9DDA-F034DAFEFB61}"/>
                </a:ext>
              </a:extLst>
            </p:cNvPr>
            <p:cNvSpPr/>
            <p:nvPr/>
          </p:nvSpPr>
          <p:spPr>
            <a:xfrm>
              <a:off x="6479688" y="2686750"/>
              <a:ext cx="2442750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It is enriched using proprietary natural language processing (NLP)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43509EF-4AE1-4686-9054-B2004A98D493}"/>
                </a:ext>
              </a:extLst>
            </p:cNvPr>
            <p:cNvSpPr/>
            <p:nvPr/>
          </p:nvSpPr>
          <p:spPr>
            <a:xfrm>
              <a:off x="9436249" y="2686750"/>
              <a:ext cx="26648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Lucida Sans" panose="020B0602030504020204" pitchFamily="34" charset="0"/>
                </a:rPr>
                <a:t>The final stage of the Smarter Data Process focuses on delivering this information in a way which suits your organization best.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116FB6DA-F158-4799-A4FB-935E3CB23FA7}"/>
                </a:ext>
              </a:extLst>
            </p:cNvPr>
            <p:cNvCxnSpPr/>
            <p:nvPr/>
          </p:nvCxnSpPr>
          <p:spPr>
            <a:xfrm>
              <a:off x="1791571" y="3563696"/>
              <a:ext cx="0" cy="324000"/>
            </a:xfrm>
            <a:prstGeom prst="straightConnector1">
              <a:avLst/>
            </a:prstGeom>
            <a:ln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718A91FA-B18B-4435-933C-9EEFCA7DB4B4}"/>
                </a:ext>
              </a:extLst>
            </p:cNvPr>
            <p:cNvCxnSpPr/>
            <p:nvPr/>
          </p:nvCxnSpPr>
          <p:spPr>
            <a:xfrm>
              <a:off x="4774257" y="3563696"/>
              <a:ext cx="0" cy="324000"/>
            </a:xfrm>
            <a:prstGeom prst="straightConnector1">
              <a:avLst/>
            </a:prstGeom>
            <a:ln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C0CF30B-B12E-419A-B5A8-77303170CAF0}"/>
                </a:ext>
              </a:extLst>
            </p:cNvPr>
            <p:cNvCxnSpPr/>
            <p:nvPr/>
          </p:nvCxnSpPr>
          <p:spPr>
            <a:xfrm>
              <a:off x="7980462" y="3563696"/>
              <a:ext cx="0" cy="324000"/>
            </a:xfrm>
            <a:prstGeom prst="straightConnector1">
              <a:avLst/>
            </a:prstGeom>
            <a:ln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61B47BD6-E824-4199-B6EC-7A41A8ACC787}"/>
                </a:ext>
              </a:extLst>
            </p:cNvPr>
            <p:cNvCxnSpPr/>
            <p:nvPr/>
          </p:nvCxnSpPr>
          <p:spPr>
            <a:xfrm>
              <a:off x="10768659" y="3563696"/>
              <a:ext cx="0" cy="324000"/>
            </a:xfrm>
            <a:prstGeom prst="straightConnector1">
              <a:avLst/>
            </a:prstGeom>
            <a:ln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871823E5-06F5-413F-B212-52E32EAA8FDF}"/>
              </a:ext>
            </a:extLst>
          </p:cNvPr>
          <p:cNvSpPr/>
          <p:nvPr/>
        </p:nvSpPr>
        <p:spPr>
          <a:xfrm>
            <a:off x="6278879" y="4167784"/>
            <a:ext cx="275035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A Natural Language Processing algorithm applied to the scraped article to produce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A short summary of the article's introduction</a:t>
            </a: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A short summary of the content within the article where the keywords were identified</a:t>
            </a: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The processed and transformed data stored in a database and filtered for different user groups (Intelligence Database).  </a:t>
            </a: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539750" algn="l"/>
              </a:tabLst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782B4EB-C36E-4959-8DFF-FBAAC1180338}"/>
              </a:ext>
            </a:extLst>
          </p:cNvPr>
          <p:cNvSpPr/>
          <p:nvPr/>
        </p:nvSpPr>
        <p:spPr>
          <a:xfrm>
            <a:off x="428332" y="4167784"/>
            <a:ext cx="2991234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Websites selected for the proof of concep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ets of keywords are used during the scraping process to identify articles of relevance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389A2FE-0519-4B0C-B6F0-7D8EA95565DC}"/>
              </a:ext>
            </a:extLst>
          </p:cNvPr>
          <p:cNvSpPr/>
          <p:nvPr/>
        </p:nvSpPr>
        <p:spPr>
          <a:xfrm>
            <a:off x="9138100" y="4167784"/>
            <a:ext cx="283813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Visualization of data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50B1C4-BEA0-4844-8BD5-6BE19120CCDA}"/>
              </a:ext>
            </a:extLst>
          </p:cNvPr>
          <p:cNvSpPr/>
          <p:nvPr/>
        </p:nvSpPr>
        <p:spPr>
          <a:xfrm>
            <a:off x="9125949" y="5292031"/>
            <a:ext cx="2838135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</a:rPr>
              <a:t>Keywords summary, Long summary, URL Link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47376D-8CC5-4CC4-B189-A7EF6B55E3F2}"/>
              </a:ext>
            </a:extLst>
          </p:cNvPr>
          <p:cNvSpPr/>
          <p:nvPr/>
        </p:nvSpPr>
        <p:spPr>
          <a:xfrm>
            <a:off x="402413" y="1362180"/>
            <a:ext cx="11473368" cy="402892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latin typeface="Lucida Sans" panose="020B0602030504020204" pitchFamily="34" charset="0"/>
              </a:rPr>
              <a:t>A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</a:rPr>
              <a:t>n data science capability providing web scraping, storage, data transformation, categorisation and delivery of data through an agreed mediu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775C9C-32FB-4F1F-8E87-F806CAB86AAC}"/>
              </a:ext>
            </a:extLst>
          </p:cNvPr>
          <p:cNvSpPr/>
          <p:nvPr/>
        </p:nvSpPr>
        <p:spPr>
          <a:xfrm>
            <a:off x="3542874" y="4167784"/>
            <a:ext cx="257918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ucida Sans" panose="020B0602030504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he Clusters identified as being the most useful categorisations e.g. Article lists, Mixed text/documents, Research lists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43FB1EB1-74CA-40C7-AA50-B7808085A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4552" y="451455"/>
            <a:ext cx="688848" cy="6858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1200" cap="none" spc="-5" normalizeH="0" baseline="0" noProof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102F36-1810-480C-AF0F-79CE9CED6EED}"/>
              </a:ext>
            </a:extLst>
          </p:cNvPr>
          <p:cNvSpPr/>
          <p:nvPr/>
        </p:nvSpPr>
        <p:spPr>
          <a:xfrm>
            <a:off x="411480" y="4164171"/>
            <a:ext cx="2974574" cy="240122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B975626-39B0-43E4-8D1B-1BACA11F8530}"/>
              </a:ext>
            </a:extLst>
          </p:cNvPr>
          <p:cNvSpPr/>
          <p:nvPr/>
        </p:nvSpPr>
        <p:spPr>
          <a:xfrm>
            <a:off x="3461032" y="4164170"/>
            <a:ext cx="2700900" cy="240122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9EE6DDB-69DB-4668-937C-76F449E1200D}"/>
              </a:ext>
            </a:extLst>
          </p:cNvPr>
          <p:cNvSpPr/>
          <p:nvPr/>
        </p:nvSpPr>
        <p:spPr>
          <a:xfrm>
            <a:off x="6297015" y="4164169"/>
            <a:ext cx="2693851" cy="240122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81AFD25-F194-492A-8730-1E838AAE99EF}"/>
              </a:ext>
            </a:extLst>
          </p:cNvPr>
          <p:cNvSpPr/>
          <p:nvPr/>
        </p:nvSpPr>
        <p:spPr>
          <a:xfrm>
            <a:off x="9069109" y="4168559"/>
            <a:ext cx="2974574" cy="240122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ucida Sans" panose="020B0602030504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464E69-4DFB-4302-880C-E8D71489F641}"/>
              </a:ext>
            </a:extLst>
          </p:cNvPr>
          <p:cNvSpPr txBox="1"/>
          <p:nvPr/>
        </p:nvSpPr>
        <p:spPr>
          <a:xfrm rot="10800000">
            <a:off x="-43864" y="4502707"/>
            <a:ext cx="430887" cy="1405193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</a:rPr>
              <a:t>Deliverabl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16EA608-C8E9-42CF-AF7B-72307A3BBCA9}"/>
              </a:ext>
            </a:extLst>
          </p:cNvPr>
          <p:cNvSpPr txBox="1"/>
          <p:nvPr/>
        </p:nvSpPr>
        <p:spPr>
          <a:xfrm rot="10800000">
            <a:off x="15389" y="2742872"/>
            <a:ext cx="430887" cy="100925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</a:rPr>
              <a:t>Lifecyc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186B17E-469D-43DB-9095-87DAC5A03C4F}"/>
              </a:ext>
            </a:extLst>
          </p:cNvPr>
          <p:cNvCxnSpPr>
            <a:cxnSpLocks/>
          </p:cNvCxnSpPr>
          <p:nvPr/>
        </p:nvCxnSpPr>
        <p:spPr>
          <a:xfrm>
            <a:off x="664698" y="2126445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7CA3E62-1C02-425A-B445-31A4CDE7C537}"/>
              </a:ext>
            </a:extLst>
          </p:cNvPr>
          <p:cNvCxnSpPr>
            <a:cxnSpLocks/>
          </p:cNvCxnSpPr>
          <p:nvPr/>
        </p:nvCxnSpPr>
        <p:spPr>
          <a:xfrm>
            <a:off x="664698" y="2676621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2FF7C47-AABB-432C-81C9-DCFC55070090}"/>
              </a:ext>
            </a:extLst>
          </p:cNvPr>
          <p:cNvCxnSpPr>
            <a:cxnSpLocks/>
          </p:cNvCxnSpPr>
          <p:nvPr/>
        </p:nvCxnSpPr>
        <p:spPr>
          <a:xfrm>
            <a:off x="3532619" y="2112526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1585EBF-1825-4B23-9B71-CC8E5B6BE4E1}"/>
              </a:ext>
            </a:extLst>
          </p:cNvPr>
          <p:cNvCxnSpPr>
            <a:cxnSpLocks/>
          </p:cNvCxnSpPr>
          <p:nvPr/>
        </p:nvCxnSpPr>
        <p:spPr>
          <a:xfrm>
            <a:off x="3532619" y="2662702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605B0B3-7667-4D56-9D1C-3EF38AAEAA6F}"/>
              </a:ext>
            </a:extLst>
          </p:cNvPr>
          <p:cNvCxnSpPr>
            <a:cxnSpLocks/>
          </p:cNvCxnSpPr>
          <p:nvPr/>
        </p:nvCxnSpPr>
        <p:spPr>
          <a:xfrm>
            <a:off x="6376308" y="2112526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B55BA64-637C-4F42-B2F0-76B23EB28353}"/>
              </a:ext>
            </a:extLst>
          </p:cNvPr>
          <p:cNvCxnSpPr>
            <a:cxnSpLocks/>
          </p:cNvCxnSpPr>
          <p:nvPr/>
        </p:nvCxnSpPr>
        <p:spPr>
          <a:xfrm>
            <a:off x="6376308" y="2662702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E9B6E15-7916-4EBA-859A-3DC81D3C7F36}"/>
              </a:ext>
            </a:extLst>
          </p:cNvPr>
          <p:cNvCxnSpPr>
            <a:cxnSpLocks/>
          </p:cNvCxnSpPr>
          <p:nvPr/>
        </p:nvCxnSpPr>
        <p:spPr>
          <a:xfrm>
            <a:off x="9228041" y="2092193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976D283-7B46-43EF-BC08-4DFB5290D71F}"/>
              </a:ext>
            </a:extLst>
          </p:cNvPr>
          <p:cNvCxnSpPr>
            <a:cxnSpLocks/>
          </p:cNvCxnSpPr>
          <p:nvPr/>
        </p:nvCxnSpPr>
        <p:spPr>
          <a:xfrm>
            <a:off x="9228041" y="2642369"/>
            <a:ext cx="2557726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A6A23E-63EE-4175-B410-C322D9E0AA16}"/>
              </a:ext>
            </a:extLst>
          </p:cNvPr>
          <p:cNvGrpSpPr>
            <a:grpSpLocks noChangeAspect="1"/>
          </p:cNvGrpSpPr>
          <p:nvPr/>
        </p:nvGrpSpPr>
        <p:grpSpPr>
          <a:xfrm>
            <a:off x="2689142" y="2185639"/>
            <a:ext cx="449127" cy="431143"/>
            <a:chOff x="6122060" y="420050"/>
            <a:chExt cx="888340" cy="98286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CC896B13-958D-4077-8D75-9AA55636E6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22060" y="451455"/>
              <a:ext cx="888340" cy="888899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00" b="1">
                <a:latin typeface="Lucida Sans" panose="020B0602030504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7F889C6-E0F8-482C-B81E-A3B629D138F1}"/>
                </a:ext>
              </a:extLst>
            </p:cNvPr>
            <p:cNvSpPr txBox="1"/>
            <p:nvPr/>
          </p:nvSpPr>
          <p:spPr>
            <a:xfrm>
              <a:off x="6172916" y="531400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0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FA14AD30-7731-495B-81CF-9CD8EDB275D0}"/>
                </a:ext>
              </a:extLst>
            </p:cNvPr>
            <p:cNvSpPr txBox="1"/>
            <p:nvPr/>
          </p:nvSpPr>
          <p:spPr>
            <a:xfrm>
              <a:off x="6466332" y="786887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0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0D23C06-9BB6-4155-BC82-CAAA705C1BD9}"/>
                </a:ext>
              </a:extLst>
            </p:cNvPr>
            <p:cNvSpPr txBox="1"/>
            <p:nvPr/>
          </p:nvSpPr>
          <p:spPr>
            <a:xfrm>
              <a:off x="6143960" y="773542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1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072AE68-7B6C-45A1-9FF6-AB0F1B26B813}"/>
                </a:ext>
              </a:extLst>
            </p:cNvPr>
            <p:cNvSpPr txBox="1"/>
            <p:nvPr/>
          </p:nvSpPr>
          <p:spPr>
            <a:xfrm>
              <a:off x="6257724" y="880525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0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FFFB879-4AB7-4B1F-A7AE-56AAB8323460}"/>
                </a:ext>
              </a:extLst>
            </p:cNvPr>
            <p:cNvSpPr txBox="1"/>
            <p:nvPr/>
          </p:nvSpPr>
          <p:spPr>
            <a:xfrm>
              <a:off x="6325322" y="683801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0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7B413BEE-D8FD-41D4-AB83-210A6FF06E01}"/>
                </a:ext>
              </a:extLst>
            </p:cNvPr>
            <p:cNvSpPr txBox="1"/>
            <p:nvPr/>
          </p:nvSpPr>
          <p:spPr>
            <a:xfrm>
              <a:off x="6533162" y="438536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0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8DD3E1A-3B29-4CFB-8712-291E6ED98637}"/>
                </a:ext>
              </a:extLst>
            </p:cNvPr>
            <p:cNvSpPr txBox="1"/>
            <p:nvPr/>
          </p:nvSpPr>
          <p:spPr>
            <a:xfrm>
              <a:off x="6415555" y="981936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1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DB89EA1-4FCF-4615-80C1-BAF1AEC1D7AF}"/>
                </a:ext>
              </a:extLst>
            </p:cNvPr>
            <p:cNvSpPr txBox="1"/>
            <p:nvPr/>
          </p:nvSpPr>
          <p:spPr>
            <a:xfrm>
              <a:off x="6580094" y="598528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F74F3FE-1B14-4DF5-A684-DB5E074ECB08}"/>
                </a:ext>
              </a:extLst>
            </p:cNvPr>
            <p:cNvSpPr txBox="1"/>
            <p:nvPr/>
          </p:nvSpPr>
          <p:spPr>
            <a:xfrm>
              <a:off x="6329900" y="420050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1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24436D4-018F-4908-A903-8ADA7746139D}"/>
                </a:ext>
              </a:extLst>
            </p:cNvPr>
            <p:cNvSpPr txBox="1"/>
            <p:nvPr/>
          </p:nvSpPr>
          <p:spPr>
            <a:xfrm>
              <a:off x="6642205" y="821618"/>
              <a:ext cx="248190" cy="420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6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1</a:t>
              </a:r>
            </a:p>
          </p:txBody>
        </p:sp>
      </p:grpSp>
      <p:pic>
        <p:nvPicPr>
          <p:cNvPr id="88" name="Graphic 87" descr="Good Inventory with solid fill">
            <a:extLst>
              <a:ext uri="{FF2B5EF4-FFF2-40B4-BE49-F238E27FC236}">
                <a16:creationId xmlns:a16="http://schemas.microsoft.com/office/drawing/2014/main" id="{4DCC26A2-C228-48D4-9D2D-225B1CB2E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77203" y="2179879"/>
            <a:ext cx="345201" cy="345201"/>
          </a:xfrm>
          <a:prstGeom prst="rect">
            <a:avLst/>
          </a:prstGeom>
        </p:spPr>
      </p:pic>
      <p:pic>
        <p:nvPicPr>
          <p:cNvPr id="90" name="Graphic 89" descr="Database with solid fill">
            <a:extLst>
              <a:ext uri="{FF2B5EF4-FFF2-40B4-BE49-F238E27FC236}">
                <a16:creationId xmlns:a16="http://schemas.microsoft.com/office/drawing/2014/main" id="{FA64B6F5-9E28-403D-B22A-57BBC14CAB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56434" y="2211231"/>
            <a:ext cx="313849" cy="313849"/>
          </a:xfrm>
          <a:prstGeom prst="rect">
            <a:avLst/>
          </a:prstGeom>
        </p:spPr>
      </p:pic>
      <p:pic>
        <p:nvPicPr>
          <p:cNvPr id="92" name="Graphic 91" descr="Rollercoaster Down with solid fill">
            <a:extLst>
              <a:ext uri="{FF2B5EF4-FFF2-40B4-BE49-F238E27FC236}">
                <a16:creationId xmlns:a16="http://schemas.microsoft.com/office/drawing/2014/main" id="{9402CEE2-BC17-4760-A928-71AA996510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215248"/>
            <a:ext cx="338623" cy="338623"/>
          </a:xfrm>
          <a:prstGeom prst="rect">
            <a:avLst/>
          </a:prstGeom>
        </p:spPr>
      </p:pic>
      <p:sp>
        <p:nvSpPr>
          <p:cNvPr id="93" name="Oval 92">
            <a:extLst>
              <a:ext uri="{FF2B5EF4-FFF2-40B4-BE49-F238E27FC236}">
                <a16:creationId xmlns:a16="http://schemas.microsoft.com/office/drawing/2014/main" id="{D61C1996-311F-4764-BD59-D7B3A582B714}"/>
              </a:ext>
            </a:extLst>
          </p:cNvPr>
          <p:cNvSpPr>
            <a:spLocks noChangeAspect="1"/>
          </p:cNvSpPr>
          <p:nvPr/>
        </p:nvSpPr>
        <p:spPr>
          <a:xfrm>
            <a:off x="5573431" y="2183087"/>
            <a:ext cx="449127" cy="38992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b="1">
              <a:latin typeface="Lucida Sans" panose="020B0602030504020204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555718DD-F3CF-43DE-9AF2-C6D05935895A}"/>
              </a:ext>
            </a:extLst>
          </p:cNvPr>
          <p:cNvSpPr>
            <a:spLocks noChangeAspect="1"/>
          </p:cNvSpPr>
          <p:nvPr/>
        </p:nvSpPr>
        <p:spPr>
          <a:xfrm>
            <a:off x="8388796" y="2175342"/>
            <a:ext cx="449127" cy="38992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b="1">
              <a:latin typeface="Lucida Sans" panose="020B0602030504020204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3CF8E174-3F89-4A99-941C-F0D941F1DAE2}"/>
              </a:ext>
            </a:extLst>
          </p:cNvPr>
          <p:cNvSpPr>
            <a:spLocks noChangeAspect="1"/>
          </p:cNvSpPr>
          <p:nvPr/>
        </p:nvSpPr>
        <p:spPr>
          <a:xfrm>
            <a:off x="11308584" y="2157518"/>
            <a:ext cx="449127" cy="389925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b="1"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5027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FC6FE12-115C-4F2E-88B7-61DDFD12D4D8}"/>
              </a:ext>
            </a:extLst>
          </p:cNvPr>
          <p:cNvSpPr/>
          <p:nvPr/>
        </p:nvSpPr>
        <p:spPr>
          <a:xfrm>
            <a:off x="952602" y="6901957"/>
            <a:ext cx="7591430" cy="709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  <a:cs typeface="Calibri" panose="020F0502020204030204" pitchFamily="34" charset="0"/>
              </a:rPr>
              <a:t>The POC architecture demonstrates full functionality while reducing costs through the use of resources with the minimum viable performance and the removal of non-functional features such as resilience</a:t>
            </a:r>
          </a:p>
        </p:txBody>
      </p:sp>
      <p:sp>
        <p:nvSpPr>
          <p:cNvPr id="28" name="タイトル 1">
            <a:extLst>
              <a:ext uri="{FF2B5EF4-FFF2-40B4-BE49-F238E27FC236}">
                <a16:creationId xmlns:a16="http://schemas.microsoft.com/office/drawing/2014/main" id="{2B84F62B-DC7A-4666-BF09-9BDE7E780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735" y="512273"/>
            <a:ext cx="10909300" cy="68580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ja-JP" b="1">
                <a:solidFill>
                  <a:schemeClr val="tx1"/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POC architecture</a:t>
            </a:r>
            <a:endParaRPr lang="ja-JP" altLang="en-US" b="1">
              <a:solidFill>
                <a:schemeClr val="tx1"/>
              </a:solidFill>
              <a:latin typeface="Lucida Sans" panose="020B0602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250CAE99-3232-4525-96E6-2558D56E9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451455"/>
            <a:ext cx="685800" cy="6858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1200" cap="none" spc="-5" normalizeH="0" baseline="0" noProof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0E2418-A53B-4EFB-8B71-B562FBB5E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735" y="1671148"/>
            <a:ext cx="8250529" cy="3515704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7DFA8C9E-C9BE-4570-B8AE-EAA43B3E02D8}"/>
              </a:ext>
            </a:extLst>
          </p:cNvPr>
          <p:cNvSpPr txBox="1">
            <a:spLocks/>
          </p:cNvSpPr>
          <p:nvPr/>
        </p:nvSpPr>
        <p:spPr>
          <a:xfrm>
            <a:off x="8882743" y="1428170"/>
            <a:ext cx="2446292" cy="48312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defPPr>
              <a:defRPr lang="en-US"/>
            </a:defPPr>
            <a:lvl1pPr>
              <a:defRPr sz="1200">
                <a:latin typeface="Lucida Sans" panose="020B0602030504020204" pitchFamily="34" charset="0"/>
              </a:defRPr>
            </a:lvl1pPr>
          </a:lstStyle>
          <a:p>
            <a:r>
              <a:rPr lang="en-GB" sz="1200" b="1" u="sng" dirty="0"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GB" sz="1200" b="1" u="sng" dirty="0">
              <a:solidFill>
                <a:schemeClr val="tx1">
                  <a:lumMod val="65000"/>
                  <a:lumOff val="35000"/>
                </a:schemeClr>
              </a:solidFill>
              <a:latin typeface="Lucida Sans" panose="020B060203050402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Leveraged the best practice and approaches (AIA, DT, IDEA </a:t>
            </a:r>
            <a:r>
              <a:rPr lang="en-US" dirty="0" err="1"/>
              <a:t>etc</a:t>
            </a:r>
            <a:r>
              <a:rPr lang="en-US" dirty="0"/>
              <a:t>)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Astellas Data Science platform standards – Dataiku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Tableau for Visualization to speed up and plan to move to Astellas standard </a:t>
            </a:r>
            <a:r>
              <a:rPr lang="en-US" dirty="0" err="1"/>
              <a:t>QlikSense</a:t>
            </a:r>
            <a:r>
              <a:rPr lang="en-US" dirty="0"/>
              <a:t> in futur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Compared capabilities of </a:t>
            </a:r>
            <a:r>
              <a:rPr lang="en-US" dirty="0" err="1"/>
              <a:t>Sinequa</a:t>
            </a:r>
            <a:r>
              <a:rPr lang="en-US" dirty="0"/>
              <a:t> platfor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dirty="0"/>
              <a:t>Actionable Workflows and Outlook exploration in next pha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8A691B-D36F-493F-A3E7-CB1E0852FB15}"/>
              </a:ext>
            </a:extLst>
          </p:cNvPr>
          <p:cNvSpPr txBox="1"/>
          <p:nvPr/>
        </p:nvSpPr>
        <p:spPr>
          <a:xfrm>
            <a:off x="419735" y="5859738"/>
            <a:ext cx="12418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Email functionality that would have summary of article – administrator account for </a:t>
            </a:r>
            <a:r>
              <a:rPr lang="en-GB" dirty="0" err="1"/>
              <a:t>Pinksheets</a:t>
            </a:r>
            <a:r>
              <a:rPr lang="en-GB" dirty="0"/>
              <a:t> – category and key sheets</a:t>
            </a:r>
          </a:p>
        </p:txBody>
      </p:sp>
    </p:spTree>
    <p:extLst>
      <p:ext uri="{BB962C8B-B14F-4D97-AF65-F5344CB8AC3E}">
        <p14:creationId xmlns:p14="http://schemas.microsoft.com/office/powerpoint/2010/main" val="34151248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FF776C8-EDD8-496C-95B3-6608DCAB1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425" y="451455"/>
            <a:ext cx="11065175" cy="710594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>
                <a:solidFill>
                  <a:schemeClr val="tx2"/>
                </a:solidFill>
                <a:latin typeface="Lucida Sans" panose="020B0602030504020204" pitchFamily="34" charset="0"/>
                <a:ea typeface="+mj-ea"/>
                <a:cs typeface="Segoe UI" panose="020B0502040204020203" pitchFamily="34" charset="0"/>
              </a:rPr>
              <a:t>Agile Ways of working succes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9E2054F-EC9E-4B09-BD7D-0A7B1FB7CC86}"/>
              </a:ext>
            </a:extLst>
          </p:cNvPr>
          <p:cNvCxnSpPr/>
          <p:nvPr/>
        </p:nvCxnSpPr>
        <p:spPr>
          <a:xfrm>
            <a:off x="2599797" y="1443527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9559615-3E62-4F7B-BF79-EE65EEEA3E15}"/>
              </a:ext>
            </a:extLst>
          </p:cNvPr>
          <p:cNvSpPr/>
          <p:nvPr/>
        </p:nvSpPr>
        <p:spPr bwMode="auto">
          <a:xfrm>
            <a:off x="227454" y="2055665"/>
            <a:ext cx="1395772" cy="360000"/>
          </a:xfrm>
          <a:prstGeom prst="rect">
            <a:avLst/>
          </a:prstGeom>
          <a:noFill/>
          <a:ln w="3175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err="1">
                <a:solidFill>
                  <a:srgbClr val="4B4B4B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Kickoff</a:t>
            </a:r>
            <a:endParaRPr lang="en-GB" sz="1400">
              <a:solidFill>
                <a:srgbClr val="4B4B4B"/>
              </a:solidFill>
              <a:latin typeface="Lucida Sans" panose="020B0602030504020204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7FA8B1-80D1-4171-85A4-C4EBECBBC197}"/>
              </a:ext>
            </a:extLst>
          </p:cNvPr>
          <p:cNvSpPr/>
          <p:nvPr/>
        </p:nvSpPr>
        <p:spPr bwMode="auto">
          <a:xfrm>
            <a:off x="227454" y="3127821"/>
            <a:ext cx="1395772" cy="360000"/>
          </a:xfrm>
          <a:prstGeom prst="rect">
            <a:avLst/>
          </a:prstGeom>
          <a:noFill/>
          <a:ln w="3175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solidFill>
                  <a:srgbClr val="4B4B4B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Sprint Deliver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589503-0616-4F89-A686-EC37B76CB7FC}"/>
              </a:ext>
            </a:extLst>
          </p:cNvPr>
          <p:cNvSpPr/>
          <p:nvPr/>
        </p:nvSpPr>
        <p:spPr bwMode="auto">
          <a:xfrm>
            <a:off x="2678974" y="1436696"/>
            <a:ext cx="1883463" cy="360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 JAN-2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A623F2-A7BB-4535-A86E-30E642F215AD}"/>
              </a:ext>
            </a:extLst>
          </p:cNvPr>
          <p:cNvSpPr/>
          <p:nvPr/>
        </p:nvSpPr>
        <p:spPr bwMode="auto">
          <a:xfrm>
            <a:off x="4635718" y="1446829"/>
            <a:ext cx="1949823" cy="360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FEB 22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79F61B-3B05-44D4-BC8E-77F660C30568}"/>
              </a:ext>
            </a:extLst>
          </p:cNvPr>
          <p:cNvCxnSpPr/>
          <p:nvPr/>
        </p:nvCxnSpPr>
        <p:spPr>
          <a:xfrm>
            <a:off x="3657220" y="1466901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1483F7-EA84-48FB-9B91-C51034770D72}"/>
              </a:ext>
            </a:extLst>
          </p:cNvPr>
          <p:cNvCxnSpPr/>
          <p:nvPr/>
        </p:nvCxnSpPr>
        <p:spPr>
          <a:xfrm>
            <a:off x="4593299" y="1466901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B151EF6-0176-4E81-8E6F-4FF7B51C852F}"/>
              </a:ext>
            </a:extLst>
          </p:cNvPr>
          <p:cNvCxnSpPr/>
          <p:nvPr/>
        </p:nvCxnSpPr>
        <p:spPr>
          <a:xfrm>
            <a:off x="5577882" y="1466901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16F59FC-48F7-4D2A-B6CB-4A5C026B5B9C}"/>
              </a:ext>
            </a:extLst>
          </p:cNvPr>
          <p:cNvSpPr/>
          <p:nvPr/>
        </p:nvSpPr>
        <p:spPr bwMode="auto">
          <a:xfrm>
            <a:off x="3257081" y="3145057"/>
            <a:ext cx="899789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Sprin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35F6B8-238F-4747-8614-C4848C37AE36}"/>
              </a:ext>
            </a:extLst>
          </p:cNvPr>
          <p:cNvSpPr/>
          <p:nvPr/>
        </p:nvSpPr>
        <p:spPr bwMode="auto">
          <a:xfrm>
            <a:off x="1610856" y="1889108"/>
            <a:ext cx="7020632" cy="10800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FFFFFF"/>
              </a:solidFill>
              <a:latin typeface="Lucida Sans" panose="020B0602030504020204" pitchFamily="34" charset="0"/>
              <a:ea typeface="ＭＳ Ｐゴシック" pitchFamily="34" charset="-128"/>
              <a:cs typeface="Calibri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922CCA-C704-497E-80BC-7B17B0513880}"/>
              </a:ext>
            </a:extLst>
          </p:cNvPr>
          <p:cNvCxnSpPr/>
          <p:nvPr/>
        </p:nvCxnSpPr>
        <p:spPr>
          <a:xfrm>
            <a:off x="1634849" y="1945565"/>
            <a:ext cx="0" cy="412984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6AAA68C3-A668-4614-94F2-F99A82926031}"/>
              </a:ext>
            </a:extLst>
          </p:cNvPr>
          <p:cNvSpPr/>
          <p:nvPr/>
        </p:nvSpPr>
        <p:spPr bwMode="auto">
          <a:xfrm>
            <a:off x="212425" y="1466901"/>
            <a:ext cx="1332000" cy="360000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Project Phas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ADAD68-5F50-493B-86EE-FC5BD8B00B00}"/>
              </a:ext>
            </a:extLst>
          </p:cNvPr>
          <p:cNvSpPr/>
          <p:nvPr/>
        </p:nvSpPr>
        <p:spPr bwMode="auto">
          <a:xfrm>
            <a:off x="6609115" y="1446829"/>
            <a:ext cx="1888123" cy="360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MAR 2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DCE2656-A18F-43FE-9012-06A346C917E3}"/>
              </a:ext>
            </a:extLst>
          </p:cNvPr>
          <p:cNvCxnSpPr/>
          <p:nvPr/>
        </p:nvCxnSpPr>
        <p:spPr>
          <a:xfrm>
            <a:off x="6606964" y="1565862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AA86B3-4629-47B3-AFC4-B31128268880}"/>
              </a:ext>
            </a:extLst>
          </p:cNvPr>
          <p:cNvCxnSpPr/>
          <p:nvPr/>
        </p:nvCxnSpPr>
        <p:spPr>
          <a:xfrm>
            <a:off x="7486233" y="1600898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162BCCD6-8843-47E3-B65F-E7B7B85DC694}"/>
              </a:ext>
            </a:extLst>
          </p:cNvPr>
          <p:cNvSpPr/>
          <p:nvPr/>
        </p:nvSpPr>
        <p:spPr bwMode="auto">
          <a:xfrm>
            <a:off x="1681376" y="2069152"/>
            <a:ext cx="1064429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FFFFFF"/>
              </a:solidFill>
              <a:latin typeface="Lucida Sans" panose="020B0602030504020204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70DD5A-5793-4FD0-8565-AAD94EAF000B}"/>
              </a:ext>
            </a:extLst>
          </p:cNvPr>
          <p:cNvSpPr/>
          <p:nvPr/>
        </p:nvSpPr>
        <p:spPr bwMode="auto">
          <a:xfrm>
            <a:off x="1623227" y="1433033"/>
            <a:ext cx="1032174" cy="360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DEC-21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9A5F0C-6BFB-462E-9D6E-9CA228229FAA}"/>
              </a:ext>
            </a:extLst>
          </p:cNvPr>
          <p:cNvCxnSpPr/>
          <p:nvPr/>
        </p:nvCxnSpPr>
        <p:spPr>
          <a:xfrm>
            <a:off x="8415381" y="1680447"/>
            <a:ext cx="0" cy="460851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CA4ADEE-726B-4375-BB72-A49CAF74D95D}"/>
              </a:ext>
            </a:extLst>
          </p:cNvPr>
          <p:cNvSpPr txBox="1"/>
          <p:nvPr/>
        </p:nvSpPr>
        <p:spPr>
          <a:xfrm>
            <a:off x="2706712" y="2140596"/>
            <a:ext cx="22284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>
                <a:latin typeface="Lucida Sans" panose="020B0602030504020204" pitchFamily="34" charset="0"/>
              </a:rPr>
              <a:t>Team onboarding. Infra setu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6EA410-3794-4D35-8270-721FE75D8B07}"/>
              </a:ext>
            </a:extLst>
          </p:cNvPr>
          <p:cNvSpPr/>
          <p:nvPr/>
        </p:nvSpPr>
        <p:spPr bwMode="auto">
          <a:xfrm>
            <a:off x="212425" y="3636410"/>
            <a:ext cx="1395772" cy="360000"/>
          </a:xfrm>
          <a:prstGeom prst="rect">
            <a:avLst/>
          </a:prstGeom>
          <a:noFill/>
          <a:ln w="3175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solidFill>
                  <a:srgbClr val="4B4B4B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Clos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6F9213A-57C8-46AD-8BC3-795CF2D32E3F}"/>
              </a:ext>
            </a:extLst>
          </p:cNvPr>
          <p:cNvSpPr/>
          <p:nvPr/>
        </p:nvSpPr>
        <p:spPr bwMode="auto">
          <a:xfrm>
            <a:off x="4205893" y="3149977"/>
            <a:ext cx="955526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Sprint 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81602FE-84CB-43BA-902C-985E25019146}"/>
              </a:ext>
            </a:extLst>
          </p:cNvPr>
          <p:cNvSpPr/>
          <p:nvPr/>
        </p:nvSpPr>
        <p:spPr bwMode="auto">
          <a:xfrm>
            <a:off x="5184208" y="3135225"/>
            <a:ext cx="935520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Sprint 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7BFF23A-C244-4ACE-8DC7-6333FDBFCA65}"/>
              </a:ext>
            </a:extLst>
          </p:cNvPr>
          <p:cNvSpPr/>
          <p:nvPr/>
        </p:nvSpPr>
        <p:spPr bwMode="auto">
          <a:xfrm>
            <a:off x="6133020" y="3140145"/>
            <a:ext cx="1022791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Sprint 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8639CD6-D79E-46E5-B713-A22801E1CE78}"/>
              </a:ext>
            </a:extLst>
          </p:cNvPr>
          <p:cNvSpPr/>
          <p:nvPr/>
        </p:nvSpPr>
        <p:spPr bwMode="auto">
          <a:xfrm>
            <a:off x="7141652" y="3650489"/>
            <a:ext cx="947124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POC Outcom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6686C15-9807-4A2C-B889-6C04787ED20F}"/>
              </a:ext>
            </a:extLst>
          </p:cNvPr>
          <p:cNvSpPr/>
          <p:nvPr/>
        </p:nvSpPr>
        <p:spPr bwMode="auto">
          <a:xfrm>
            <a:off x="242204" y="2572299"/>
            <a:ext cx="1395772" cy="360000"/>
          </a:xfrm>
          <a:prstGeom prst="rect">
            <a:avLst/>
          </a:prstGeom>
          <a:noFill/>
          <a:ln w="3175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>
                <a:solidFill>
                  <a:srgbClr val="4B4B4B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Pla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0752BDA-8DA6-4D1D-84D3-592EA9B01B22}"/>
              </a:ext>
            </a:extLst>
          </p:cNvPr>
          <p:cNvSpPr/>
          <p:nvPr/>
        </p:nvSpPr>
        <p:spPr bwMode="auto">
          <a:xfrm>
            <a:off x="2701562" y="2589535"/>
            <a:ext cx="555520" cy="360000"/>
          </a:xfrm>
          <a:prstGeom prst="rect">
            <a:avLst/>
          </a:prstGeom>
          <a:solidFill>
            <a:srgbClr val="A6A6A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FFFFFF"/>
              </a:solidFill>
              <a:latin typeface="Lucida Sans" panose="020B0602030504020204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1F52F52-7264-4A3B-B69D-59A9D5F66B1F}"/>
              </a:ext>
            </a:extLst>
          </p:cNvPr>
          <p:cNvSpPr txBox="1"/>
          <p:nvPr/>
        </p:nvSpPr>
        <p:spPr>
          <a:xfrm>
            <a:off x="3226001" y="2638730"/>
            <a:ext cx="29482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>
                <a:latin typeface="Lucida Sans" panose="020B0602030504020204" pitchFamily="34" charset="0"/>
              </a:rPr>
              <a:t>User story refinement and prioritization.</a:t>
            </a:r>
          </a:p>
        </p:txBody>
      </p:sp>
      <p:sp>
        <p:nvSpPr>
          <p:cNvPr id="32" name="Arrow: Curved Down 31">
            <a:extLst>
              <a:ext uri="{FF2B5EF4-FFF2-40B4-BE49-F238E27FC236}">
                <a16:creationId xmlns:a16="http://schemas.microsoft.com/office/drawing/2014/main" id="{ED9E751B-56C3-438B-93AE-8C0A948F62CC}"/>
              </a:ext>
            </a:extLst>
          </p:cNvPr>
          <p:cNvSpPr/>
          <p:nvPr/>
        </p:nvSpPr>
        <p:spPr>
          <a:xfrm>
            <a:off x="3998560" y="2949535"/>
            <a:ext cx="315942" cy="178286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Lucida Sans" panose="020B0602030504020204" pitchFamily="34" charset="0"/>
            </a:endParaRPr>
          </a:p>
        </p:txBody>
      </p:sp>
      <p:sp>
        <p:nvSpPr>
          <p:cNvPr id="33" name="Arrow: Curved Down 32">
            <a:extLst>
              <a:ext uri="{FF2B5EF4-FFF2-40B4-BE49-F238E27FC236}">
                <a16:creationId xmlns:a16="http://schemas.microsoft.com/office/drawing/2014/main" id="{A29E18F6-411A-4BC3-8DA9-F508D80EF82B}"/>
              </a:ext>
            </a:extLst>
          </p:cNvPr>
          <p:cNvSpPr/>
          <p:nvPr/>
        </p:nvSpPr>
        <p:spPr>
          <a:xfrm>
            <a:off x="5045834" y="2953489"/>
            <a:ext cx="315942" cy="178286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Lucida Sans" panose="020B0602030504020204" pitchFamily="34" charset="0"/>
            </a:endParaRPr>
          </a:p>
        </p:txBody>
      </p:sp>
      <p:sp>
        <p:nvSpPr>
          <p:cNvPr id="34" name="Arrow: Curved Down 33">
            <a:extLst>
              <a:ext uri="{FF2B5EF4-FFF2-40B4-BE49-F238E27FC236}">
                <a16:creationId xmlns:a16="http://schemas.microsoft.com/office/drawing/2014/main" id="{6B7D4A0D-156F-46DF-87A8-2715AEB8FAF7}"/>
              </a:ext>
            </a:extLst>
          </p:cNvPr>
          <p:cNvSpPr/>
          <p:nvPr/>
        </p:nvSpPr>
        <p:spPr>
          <a:xfrm>
            <a:off x="5983998" y="2941353"/>
            <a:ext cx="315942" cy="178286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Lucida Sans" panose="020B0602030504020204" pitchFamily="34" charset="0"/>
            </a:endParaRPr>
          </a:p>
        </p:txBody>
      </p:sp>
      <p:sp>
        <p:nvSpPr>
          <p:cNvPr id="36" name="Slide Number Placeholder 3">
            <a:extLst>
              <a:ext uri="{FF2B5EF4-FFF2-40B4-BE49-F238E27FC236}">
                <a16:creationId xmlns:a16="http://schemas.microsoft.com/office/drawing/2014/main" id="{3D07833F-75B5-4042-89E9-AE18169F6EA0}"/>
              </a:ext>
            </a:extLst>
          </p:cNvPr>
          <p:cNvSpPr txBox="1">
            <a:spLocks/>
          </p:cNvSpPr>
          <p:nvPr/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9AE0398-C5D1-4C23-8BB8-6DF786637BD0}" type="slidenum">
              <a:rPr lang="en-US" smtClean="0">
                <a:latin typeface="Lucida Sans" panose="020B0602030504020204" pitchFamily="34" charset="0"/>
              </a:rPr>
              <a:pPr algn="ctr"/>
              <a:t>16</a:t>
            </a:fld>
            <a:endParaRPr lang="en-US">
              <a:latin typeface="Lucida Sans" panose="020B0602030504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F1A69A9-45AC-4AC7-8548-E08F76087259}"/>
              </a:ext>
            </a:extLst>
          </p:cNvPr>
          <p:cNvSpPr txBox="1"/>
          <p:nvPr/>
        </p:nvSpPr>
        <p:spPr>
          <a:xfrm>
            <a:off x="9222396" y="1419275"/>
            <a:ext cx="2494900" cy="5047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GB" sz="1200" b="1" u="sng" dirty="0"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endParaRPr lang="en-US" sz="1200" dirty="0">
              <a:latin typeface="Lucida Sans" panose="020B0602030504020204" pitchFamily="34" charset="0"/>
            </a:endParaRPr>
          </a:p>
          <a:p>
            <a:r>
              <a:rPr lang="en-US" sz="1200" dirty="0">
                <a:latin typeface="Lucida Sans" panose="020B0602030504020204" pitchFamily="34" charset="0"/>
              </a:rPr>
              <a:t>We hit our delivery commitments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On Time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Under Budget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Did more than Scope</a:t>
            </a:r>
          </a:p>
          <a:p>
            <a:pPr marL="285750" indent="-285750">
              <a:buFontTx/>
              <a:buChar char="-"/>
            </a:pPr>
            <a:endParaRPr lang="en-US" sz="1200" dirty="0">
              <a:latin typeface="Lucida Sans" panose="020B0602030504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We adopted agile way of working where we defined deliverable ahead of each sprint then reviewed with the business at the end of each sprint</a:t>
            </a:r>
          </a:p>
          <a:p>
            <a:pPr marL="285750" indent="-285750">
              <a:buFontTx/>
              <a:buChar char="-"/>
            </a:pPr>
            <a:endParaRPr lang="en-US" sz="1200" dirty="0">
              <a:latin typeface="Lucida Sans" panose="020B0602030504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Delivery challenges were to do with agreements on environment to use and delay onboarding or getting commitments for competency center </a:t>
            </a:r>
          </a:p>
          <a:p>
            <a:pPr marL="285750" indent="-285750">
              <a:buFontTx/>
              <a:buChar char="-"/>
            </a:pPr>
            <a:endParaRPr lang="en-US" sz="1200" dirty="0">
              <a:latin typeface="Lucida Sans" panose="020B0602030504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200" dirty="0">
                <a:latin typeface="Lucida Sans" panose="020B0602030504020204" pitchFamily="34" charset="0"/>
              </a:rPr>
              <a:t>With agreement from R&amp;D, No SLC for POC which reduced documentation burden </a:t>
            </a:r>
          </a:p>
        </p:txBody>
      </p:sp>
    </p:spTree>
    <p:extLst>
      <p:ext uri="{BB962C8B-B14F-4D97-AF65-F5344CB8AC3E}">
        <p14:creationId xmlns:p14="http://schemas.microsoft.com/office/powerpoint/2010/main" val="2031257373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CD140-A083-4BFD-8464-7FBFA2AF1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456" y="477778"/>
            <a:ext cx="10969925" cy="656626"/>
          </a:xfr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2400">
                <a:solidFill>
                  <a:schemeClr val="tx2"/>
                </a:solidFill>
                <a:latin typeface="Lucida Sans" panose="020B0602030504020204" pitchFamily="34" charset="0"/>
                <a:ea typeface="+mj-ea"/>
                <a:cs typeface="Segoe UI" panose="020B0502040204020203" pitchFamily="34" charset="0"/>
              </a:rPr>
              <a:t>Organizational structure succes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FADAF71-BA0A-4BB0-8A7C-B6C8837016C8}"/>
              </a:ext>
            </a:extLst>
          </p:cNvPr>
          <p:cNvSpPr/>
          <p:nvPr/>
        </p:nvSpPr>
        <p:spPr>
          <a:xfrm>
            <a:off x="262457" y="2822991"/>
            <a:ext cx="8820584" cy="3292484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rtlCol="0" anchor="t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>
                <a:solidFill>
                  <a:srgbClr val="FFFFFF"/>
                </a:solidFill>
                <a:latin typeface="Lucida Sans" panose="020B0602030504020204" pitchFamily="34" charset="0"/>
                <a:ea typeface="ＭＳ Ｐゴシック" pitchFamily="34" charset="-128"/>
                <a:cs typeface="Calibri" pitchFamily="34" charset="0"/>
              </a:rPr>
              <a:t>Agile Team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6545FF-F9D8-4922-AD2B-65AEAD0E0E94}"/>
              </a:ext>
            </a:extLst>
          </p:cNvPr>
          <p:cNvSpPr/>
          <p:nvPr/>
        </p:nvSpPr>
        <p:spPr>
          <a:xfrm>
            <a:off x="1346250" y="1600714"/>
            <a:ext cx="2309074" cy="375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Product Own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prstClr val="white"/>
                </a:solidFill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Michael Ogbeid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B5A4A4-9DDF-4941-8A03-A8945CB23DFA}"/>
              </a:ext>
            </a:extLst>
          </p:cNvPr>
          <p:cNvSpPr/>
          <p:nvPr/>
        </p:nvSpPr>
        <p:spPr>
          <a:xfrm>
            <a:off x="1346250" y="2224021"/>
            <a:ext cx="2309075" cy="375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Ashish Roy (PM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A2F6AC-9979-4160-9405-A669D23341C9}"/>
              </a:ext>
            </a:extLst>
          </p:cNvPr>
          <p:cNvSpPr/>
          <p:nvPr/>
        </p:nvSpPr>
        <p:spPr>
          <a:xfrm>
            <a:off x="419542" y="3252419"/>
            <a:ext cx="1514241" cy="28377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Technical Tea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7030B-F88F-488C-9485-24CAA43CFAF0}"/>
              </a:ext>
            </a:extLst>
          </p:cNvPr>
          <p:cNvSpPr/>
          <p:nvPr/>
        </p:nvSpPr>
        <p:spPr>
          <a:xfrm>
            <a:off x="474006" y="3883063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Database 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Navee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D1FC1E-8636-4799-B92A-E5D9FED320F8}"/>
              </a:ext>
            </a:extLst>
          </p:cNvPr>
          <p:cNvSpPr/>
          <p:nvPr/>
        </p:nvSpPr>
        <p:spPr>
          <a:xfrm>
            <a:off x="474006" y="4364202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NLP Technical 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err="1">
                <a:latin typeface="Lucida Sans" panose="020B0602030504020204" pitchFamily="34" charset="0"/>
                <a:ea typeface="Helvetica Neue" charset="0"/>
                <a:cs typeface="Arial"/>
              </a:rPr>
              <a:t>Nikil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D65921-1BBF-4746-BD5B-B69AA8D5F8AB}"/>
              </a:ext>
            </a:extLst>
          </p:cNvPr>
          <p:cNvSpPr/>
          <p:nvPr/>
        </p:nvSpPr>
        <p:spPr>
          <a:xfrm>
            <a:off x="474006" y="4833493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Lucida Sans" panose="020B0602030504020204" pitchFamily="34" charset="0"/>
                <a:cs typeface="Arial"/>
              </a:rPr>
              <a:t>Front End </a:t>
            </a:r>
          </a:p>
          <a:p>
            <a:pPr algn="ctr"/>
            <a:r>
              <a:rPr lang="en-US" sz="1000" b="1">
                <a:latin typeface="Lucida Sans" panose="020B0602030504020204" pitchFamily="34" charset="0"/>
                <a:cs typeface="Arial"/>
              </a:rPr>
              <a:t>Navee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A0BD15-8C6F-4F54-9EBB-2EA92D633DCC}"/>
              </a:ext>
            </a:extLst>
          </p:cNvPr>
          <p:cNvSpPr/>
          <p:nvPr/>
        </p:nvSpPr>
        <p:spPr>
          <a:xfrm>
            <a:off x="2166129" y="3280330"/>
            <a:ext cx="1514241" cy="2807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GRIP Business Te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75A3AE-3898-4D18-818D-F66AC1A031F2}"/>
              </a:ext>
            </a:extLst>
          </p:cNvPr>
          <p:cNvSpPr/>
          <p:nvPr/>
        </p:nvSpPr>
        <p:spPr>
          <a:xfrm>
            <a:off x="2223080" y="4378032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Korina Anagnosto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BC33A-F377-43A6-8DF3-15B72416CEA1}"/>
              </a:ext>
            </a:extLst>
          </p:cNvPr>
          <p:cNvSpPr/>
          <p:nvPr/>
        </p:nvSpPr>
        <p:spPr>
          <a:xfrm>
            <a:off x="2223080" y="3895236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Valeria Aleksandrov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6AE3F3-F0BC-4A16-A3DC-3534E8BDD30B}"/>
              </a:ext>
            </a:extLst>
          </p:cNvPr>
          <p:cNvSpPr/>
          <p:nvPr/>
        </p:nvSpPr>
        <p:spPr>
          <a:xfrm>
            <a:off x="3898090" y="2224020"/>
            <a:ext cx="2309074" cy="375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RDP RM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A00F94-CAD4-421C-B15A-AC216F72FA10}"/>
              </a:ext>
            </a:extLst>
          </p:cNvPr>
          <p:cNvSpPr/>
          <p:nvPr/>
        </p:nvSpPr>
        <p:spPr>
          <a:xfrm>
            <a:off x="6449931" y="2224020"/>
            <a:ext cx="2309074" cy="37539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Support Func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CAFBB2-CC44-4794-9224-9948982E25CE}"/>
              </a:ext>
            </a:extLst>
          </p:cNvPr>
          <p:cNvSpPr/>
          <p:nvPr/>
        </p:nvSpPr>
        <p:spPr>
          <a:xfrm>
            <a:off x="3898090" y="1600713"/>
            <a:ext cx="2309074" cy="375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Business Spons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prstClr val="white"/>
                </a:solidFill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Fred Ivanow / Gary Novak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73C22E-8ACD-469F-B8FE-23DA821CA874}"/>
              </a:ext>
            </a:extLst>
          </p:cNvPr>
          <p:cNvSpPr/>
          <p:nvPr/>
        </p:nvSpPr>
        <p:spPr>
          <a:xfrm>
            <a:off x="6449931" y="1600714"/>
            <a:ext cx="2309074" cy="375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A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prstClr val="white"/>
                </a:solidFill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Abb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C6623E71-4684-462B-A3C3-6633C0A06A64}"/>
              </a:ext>
            </a:extLst>
          </p:cNvPr>
          <p:cNvSpPr txBox="1">
            <a:spLocks/>
          </p:cNvSpPr>
          <p:nvPr/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9AE0398-C5D1-4C23-8BB8-6DF786637BD0}" type="slidenum">
              <a:rPr lang="en-US" smtClean="0">
                <a:latin typeface="Lucida Sans" panose="020B0602030504020204" pitchFamily="34" charset="0"/>
              </a:rPr>
              <a:pPr algn="ctr"/>
              <a:t>17</a:t>
            </a:fld>
            <a:endParaRPr lang="en-US">
              <a:latin typeface="Lucida Sans" panose="020B0602030504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E1F947-14C2-48B9-ABD3-ECF6B09AE52E}"/>
              </a:ext>
            </a:extLst>
          </p:cNvPr>
          <p:cNvSpPr/>
          <p:nvPr/>
        </p:nvSpPr>
        <p:spPr>
          <a:xfrm>
            <a:off x="3912716" y="3280330"/>
            <a:ext cx="1514241" cy="2807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Quality Business Te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0E9256B-AE96-454C-9AF5-8126B992098F}"/>
              </a:ext>
            </a:extLst>
          </p:cNvPr>
          <p:cNvSpPr/>
          <p:nvPr/>
        </p:nvSpPr>
        <p:spPr>
          <a:xfrm>
            <a:off x="3964695" y="3910974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Harry Wats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7EAD051-32F7-4E2A-8529-20F9731E187D}"/>
              </a:ext>
            </a:extLst>
          </p:cNvPr>
          <p:cNvSpPr txBox="1"/>
          <p:nvPr/>
        </p:nvSpPr>
        <p:spPr>
          <a:xfrm>
            <a:off x="9325806" y="1591160"/>
            <a:ext cx="2520813" cy="47089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GB" sz="1200" b="1" u="sng" dirty="0"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latin typeface="Lucida Sans" panose="020B0602030504020204" pitchFamily="34" charset="0"/>
              </a:rPr>
              <a:t>Strong sponsorship from RDP and AIA leadershi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latin typeface="Lucida Sans" panose="020B0602030504020204" pitchFamily="34" charset="0"/>
              </a:rPr>
              <a:t>Strong stakeholder interest and engagement from GRIP and Quality Leadership and business team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latin typeface="Lucida Sans" panose="020B0602030504020204" pitchFamily="34" charset="0"/>
              </a:rPr>
              <a:t>Strong support and engagement from Aha/</a:t>
            </a:r>
            <a:r>
              <a:rPr lang="en-US" sz="1200" dirty="0" err="1">
                <a:latin typeface="Lucida Sans" panose="020B0602030504020204" pitchFamily="34" charset="0"/>
              </a:rPr>
              <a:t>Sinequa</a:t>
            </a:r>
            <a:r>
              <a:rPr lang="en-US" sz="1200" dirty="0">
                <a:latin typeface="Lucida Sans" panose="020B0602030504020204" pitchFamily="34" charset="0"/>
              </a:rPr>
              <a:t>, IDEA and AIA on environ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latin typeface="Lucida Sans" panose="020B0602030504020204" pitchFamily="34" charset="0"/>
              </a:rPr>
              <a:t>Showcase to Medical Library Services, HEOR (MA), CCP, PV, Competitive Intelligence, </a:t>
            </a:r>
            <a:r>
              <a:rPr lang="en-US" sz="1200" dirty="0" err="1">
                <a:latin typeface="Lucida Sans" panose="020B0602030504020204" pitchFamily="34" charset="0"/>
              </a:rPr>
              <a:t>etc</a:t>
            </a: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>
              <a:latin typeface="Lucida Sans" panose="020B06020305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>
                <a:latin typeface="Lucida Sans" panose="020B0602030504020204" pitchFamily="34" charset="0"/>
              </a:rPr>
              <a:t>Leveraged the same agile team to work with Global Regulatory  Intelligence &amp; Policy (GRIP) and Quality Intelligence Grou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9A9AA7-9758-4E40-90ED-83D6BC4F8019}"/>
              </a:ext>
            </a:extLst>
          </p:cNvPr>
          <p:cNvSpPr/>
          <p:nvPr/>
        </p:nvSpPr>
        <p:spPr>
          <a:xfrm>
            <a:off x="5659303" y="3249779"/>
            <a:ext cx="1514241" cy="28377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Infrastructur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520FBDB-347A-43B4-901A-CF00DD1561A1}"/>
              </a:ext>
            </a:extLst>
          </p:cNvPr>
          <p:cNvSpPr/>
          <p:nvPr/>
        </p:nvSpPr>
        <p:spPr>
          <a:xfrm>
            <a:off x="7405890" y="3249779"/>
            <a:ext cx="1514241" cy="28377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 panose="020B0604020202020204" pitchFamily="34" charset="0"/>
              </a:rPr>
              <a:t>Sinequa Team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7596E46-F894-4EE7-BDD4-CE8FC2DFB8EC}"/>
              </a:ext>
            </a:extLst>
          </p:cNvPr>
          <p:cNvSpPr/>
          <p:nvPr/>
        </p:nvSpPr>
        <p:spPr>
          <a:xfrm>
            <a:off x="5713766" y="3855306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latin typeface="Lucida Sans" panose="020B0602030504020204" pitchFamily="34" charset="0"/>
                <a:ea typeface="Helvetica Neue" charset="0"/>
                <a:cs typeface="Arial"/>
              </a:rPr>
              <a:t>IDEA 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Brian Nigl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39F1C9C-875D-4775-BAB7-9F69DB8BBA0B}"/>
              </a:ext>
            </a:extLst>
          </p:cNvPr>
          <p:cNvSpPr/>
          <p:nvPr/>
        </p:nvSpPr>
        <p:spPr>
          <a:xfrm>
            <a:off x="5713766" y="4301360"/>
            <a:ext cx="1405311" cy="4456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latin typeface="Lucida Sans" panose="020B0602030504020204" pitchFamily="34" charset="0"/>
                <a:ea typeface="Helvetica Neue" charset="0"/>
                <a:cs typeface="Arial"/>
              </a:rPr>
              <a:t>AIA 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Muhammad Siddiqui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01AA5B5-1B69-4793-BB27-C1E1372794FB}"/>
              </a:ext>
            </a:extLst>
          </p:cNvPr>
          <p:cNvSpPr/>
          <p:nvPr/>
        </p:nvSpPr>
        <p:spPr>
          <a:xfrm>
            <a:off x="7460353" y="3859696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err="1">
                <a:latin typeface="Lucida Sans" panose="020B0602030504020204" pitchFamily="34" charset="0"/>
                <a:ea typeface="Helvetica Neue" charset="0"/>
                <a:cs typeface="Arial"/>
              </a:rPr>
              <a:t>Caio</a:t>
            </a:r>
            <a:r>
              <a:rPr lang="en-US" sz="1000" b="1">
                <a:latin typeface="Lucida Sans" panose="020B0602030504020204" pitchFamily="34" charset="0"/>
                <a:ea typeface="Helvetica Neue" charset="0"/>
                <a:cs typeface="Arial"/>
              </a:rPr>
              <a:t> </a:t>
            </a:r>
            <a:r>
              <a:rPr lang="en-US" sz="1000" b="1" err="1">
                <a:latin typeface="Lucida Sans" panose="020B0602030504020204" pitchFamily="34" charset="0"/>
                <a:ea typeface="Helvetica Neue" charset="0"/>
                <a:cs typeface="Arial"/>
              </a:rPr>
              <a:t>Frietas</a:t>
            </a:r>
            <a:r>
              <a:rPr lang="en-US" sz="1000" b="1">
                <a:latin typeface="Lucida Sans" panose="020B0602030504020204" pitchFamily="34" charset="0"/>
                <a:ea typeface="Helvetica Neue" charset="0"/>
                <a:cs typeface="Arial"/>
              </a:rPr>
              <a:t> </a:t>
            </a:r>
            <a:r>
              <a:rPr lang="en-US" sz="1000" b="1" err="1">
                <a:latin typeface="Lucida Sans" panose="020B0602030504020204" pitchFamily="34" charset="0"/>
                <a:ea typeface="Helvetica Neue" charset="0"/>
                <a:cs typeface="Arial"/>
              </a:rPr>
              <a:t>Pumal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Lucida Sans" panose="020B0602030504020204" pitchFamily="34" charset="0"/>
              <a:ea typeface="Helvetica Neue" charset="0"/>
              <a:cs typeface="Arial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6DB1C11-A823-4B1E-B8BC-C6460EAD0CC2}"/>
              </a:ext>
            </a:extLst>
          </p:cNvPr>
          <p:cNvSpPr/>
          <p:nvPr/>
        </p:nvSpPr>
        <p:spPr>
          <a:xfrm>
            <a:off x="5713766" y="4779194"/>
            <a:ext cx="1405311" cy="3828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latin typeface="Lucida Sans" panose="020B0602030504020204" pitchFamily="34" charset="0"/>
                <a:ea typeface="Helvetica Neue" charset="0"/>
                <a:cs typeface="Arial"/>
              </a:rPr>
              <a:t>IDEA 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Lucida Sans" panose="020B0602030504020204" pitchFamily="34" charset="0"/>
                <a:ea typeface="Helvetica Neue" charset="0"/>
                <a:cs typeface="Arial"/>
              </a:rPr>
              <a:t>Paul Batulis</a:t>
            </a:r>
          </a:p>
        </p:txBody>
      </p:sp>
    </p:spTree>
    <p:extLst>
      <p:ext uri="{BB962C8B-B14F-4D97-AF65-F5344CB8AC3E}">
        <p14:creationId xmlns:p14="http://schemas.microsoft.com/office/powerpoint/2010/main" val="2547887762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66CC2-7FB0-4FDD-9BCC-1D049636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GB" b="1" dirty="0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1099AB-2254-41B5-95B0-CF4067F16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>
                <a:latin typeface="Lucida Sans" panose="020B0602030504020204" pitchFamily="34" charset="0"/>
              </a:rPr>
              <a:t>2</a:t>
            </a:fld>
            <a:endParaRPr lang="en-US">
              <a:latin typeface="Lucida Sans" panose="020B060203050402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608870B-4D2E-4D8E-81FD-973DFEEF91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250" y="1542474"/>
            <a:ext cx="10309514" cy="4154118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GB" sz="1600" dirty="0">
                <a:solidFill>
                  <a:schemeClr val="tx2"/>
                </a:solidFill>
                <a:latin typeface="Lucida Sans" panose="020B0602030504020204" pitchFamily="34" charset="0"/>
              </a:rPr>
              <a:t>Awareness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2"/>
                </a:solidFill>
                <a:latin typeface="Lucida Sans" panose="020B0602030504020204" pitchFamily="34" charset="0"/>
              </a:rPr>
              <a:t>The concept is feasible using internal capability and value has been realised and early adopters interested in real world pilot and have identified more demand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2"/>
                </a:solidFill>
                <a:latin typeface="Lucida Sans" panose="020B0602030504020204" pitchFamily="34" charset="0"/>
              </a:rPr>
              <a:t>Lessons Learned</a:t>
            </a:r>
          </a:p>
          <a:p>
            <a:pPr marL="342900" indent="-342900"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2"/>
                </a:solidFill>
                <a:latin typeface="Lucida Sans" panose="020B0602030504020204" pitchFamily="34" charset="0"/>
              </a:rPr>
              <a:t>Our thoughts / consideration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GB" sz="1600" dirty="0">
                <a:solidFill>
                  <a:schemeClr val="tx2"/>
                </a:solidFill>
                <a:latin typeface="Lucida Sans" panose="020B0602030504020204" pitchFamily="34" charset="0"/>
              </a:rPr>
              <a:t>Sponsors Feedback &amp; Agree Next Step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FDA238-175E-425B-8C88-FCCFF2E6145E}"/>
              </a:ext>
            </a:extLst>
          </p:cNvPr>
          <p:cNvSpPr txBox="1"/>
          <p:nvPr/>
        </p:nvSpPr>
        <p:spPr>
          <a:xfrm>
            <a:off x="480292" y="5696592"/>
            <a:ext cx="89315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spcAft>
                <a:spcPts val="1800"/>
              </a:spcAft>
            </a:pPr>
            <a:r>
              <a:rPr lang="en-GB" sz="1200" i="1" u="sng" dirty="0">
                <a:solidFill>
                  <a:schemeClr val="tx2"/>
                </a:solidFill>
                <a:latin typeface="Lucida Sans" panose="020B0602030504020204" pitchFamily="34" charset="0"/>
              </a:rPr>
              <a:t>Note</a:t>
            </a:r>
            <a:r>
              <a:rPr lang="en-GB" sz="1200" i="1" dirty="0">
                <a:solidFill>
                  <a:schemeClr val="tx2"/>
                </a:solidFill>
                <a:latin typeface="Lucida Sans" panose="020B0602030504020204" pitchFamily="34" charset="0"/>
              </a:rPr>
              <a:t>: POC was delivered on time and under budget</a:t>
            </a:r>
          </a:p>
        </p:txBody>
      </p:sp>
    </p:spTree>
    <p:extLst>
      <p:ext uri="{BB962C8B-B14F-4D97-AF65-F5344CB8AC3E}">
        <p14:creationId xmlns:p14="http://schemas.microsoft.com/office/powerpoint/2010/main" val="11380369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4F33A-420F-40E8-BBA8-9615732F7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ig 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E744B4-9A31-4B31-B602-8B5C322EC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6" y="1681018"/>
            <a:ext cx="10198388" cy="4650113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Thank you to all the individuals who helped make the project a success!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Sponsors &amp; Business Units – RDP LT, AIA LT, GRIP and Quality Assurance for taking the risk!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RDP RMs, PP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CoE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 and ALM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IDEA (Architecture &amp; Environment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AIA (Knowledge Management, Architecture &amp; Environment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DT Organization (EA, Aha &amp;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Sinequa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IS Compliance (R&amp;C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Vendors &amp; Partners –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Sinequa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</a:rPr>
              <a:t>, TCS, Cognizant, &amp; Many Oth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4CD60-AA84-4D40-A084-9308BC57A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-5" normalizeH="0" baseline="0" noProof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59961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8FA05-30C9-48B0-A106-6F86751AF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latin typeface="Segoe UI" panose="020B0502040204020203" pitchFamily="34" charset="0"/>
                <a:cs typeface="Segoe UI" panose="020B0502040204020203" pitchFamily="34" charset="0"/>
              </a:rPr>
              <a:t>Regulatory affairs value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8BE026-30D9-4941-A5C4-FA2577FC58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371600"/>
            <a:ext cx="3527425" cy="2692400"/>
          </a:xfr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/>
          <a:lstStyle/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C Use Case and Lea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b="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Enable target keyword search of limited number of regulatory agency and other websites around Medical Device topic area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Key learning from POC incorporated into core capability and use case requirements</a:t>
            </a:r>
          </a:p>
          <a:p>
            <a:pPr marL="10858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9B52CD-088C-4A3C-8389-5B5CEFBF9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-5" normalizeH="0" baseline="0" noProof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917F247-E668-4F03-8D3D-0DC6A84F570E}"/>
              </a:ext>
            </a:extLst>
          </p:cNvPr>
          <p:cNvSpPr txBox="1">
            <a:spLocks/>
          </p:cNvSpPr>
          <p:nvPr/>
        </p:nvSpPr>
        <p:spPr>
          <a:xfrm>
            <a:off x="4367803" y="1382826"/>
            <a:ext cx="3527425" cy="4774134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uture Demand Identification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71450" marR="0" lvl="1" indent="-171450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Priority 1: Target keyword search of websites for regulatory agency approval of Astellas products</a:t>
            </a:r>
          </a:p>
          <a:p>
            <a:pPr marL="171450" marR="0" lvl="1" indent="-171450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Priority 2: Target keyword search of all (&gt;100) websites article relating to Medical Device Intelligence (replace ABIS) and Regulatory Trends</a:t>
            </a:r>
          </a:p>
          <a:p>
            <a:pPr marL="171450" marR="0" lvl="1" indent="-171450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Priority 3: Target keywords search of documents – PDFs, Words, Excel, PowerPoint etc in website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7530BE-046F-488C-9625-342C1C470DBA}"/>
              </a:ext>
            </a:extLst>
          </p:cNvPr>
          <p:cNvSpPr txBox="1"/>
          <p:nvPr/>
        </p:nvSpPr>
        <p:spPr>
          <a:xfrm>
            <a:off x="8595360" y="1340230"/>
            <a:ext cx="2682240" cy="47741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GB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est solution feasibility and compare solution option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Intelligence Surveillance on demand across geographie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React faster to change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Reduced price point for data science capability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Competitive advantage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Technology &amp; Development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ways of working with IS – IS initiated Innovatio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85D3537-10EE-45DD-8D22-B46217210604}"/>
              </a:ext>
            </a:extLst>
          </p:cNvPr>
          <p:cNvSpPr txBox="1">
            <a:spLocks/>
          </p:cNvSpPr>
          <p:nvPr/>
        </p:nvSpPr>
        <p:spPr>
          <a:xfrm>
            <a:off x="358774" y="4156364"/>
            <a:ext cx="3527425" cy="1958000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ngible Benefits Identification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GB" sz="1400" b="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171450" indent="-1714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Tangible benefit worth 340 k USD per annum – net benefits subject to spend to replace capability</a:t>
            </a:r>
          </a:p>
          <a:p>
            <a:pPr marL="10858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541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8FA05-30C9-48B0-A106-6F86751AF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latin typeface="Segoe UI" panose="020B0502040204020203" pitchFamily="34" charset="0"/>
                <a:cs typeface="Segoe UI" panose="020B0502040204020203" pitchFamily="34" charset="0"/>
              </a:rPr>
              <a:t>quality assurance value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8BE026-30D9-4941-A5C4-FA2577FC58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371600"/>
            <a:ext cx="3527425" cy="2701636"/>
          </a:xfr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/>
          <a:lstStyle/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C Use Case and Lea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b="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171450" indent="-1714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Enable target keyword search of limited number of regulatory agency website for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Quality Intelligence &amp; Inspection Readiness Trends for GCP</a:t>
            </a:r>
          </a:p>
          <a:p>
            <a:pPr marL="171450" indent="-1714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Key learning from POC incorporated into core capability and us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9B52CD-088C-4A3C-8389-5B5CEFBF9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-5" normalizeH="0" baseline="0" noProof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917F247-E668-4F03-8D3D-0DC6A84F570E}"/>
              </a:ext>
            </a:extLst>
          </p:cNvPr>
          <p:cNvSpPr txBox="1">
            <a:spLocks/>
          </p:cNvSpPr>
          <p:nvPr/>
        </p:nvSpPr>
        <p:spPr>
          <a:xfrm>
            <a:off x="4367803" y="1382826"/>
            <a:ext cx="3527425" cy="4774134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uture Demand Identification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71450" marR="0" lvl="1" indent="-171450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Priority 1:  Target keyword search of all (&gt;100) websites article relating to Quality Intelligence &amp; Inspection Readiness Trends for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for GCP, GMP, GVP, GLP, Supplier Quality for Drug, Medical Devices, and Combination Products topic areas</a:t>
            </a:r>
            <a:endParaRPr lang="en-GB" sz="1400" b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7530BE-046F-488C-9625-342C1C470DBA}"/>
              </a:ext>
            </a:extLst>
          </p:cNvPr>
          <p:cNvSpPr txBox="1"/>
          <p:nvPr/>
        </p:nvSpPr>
        <p:spPr>
          <a:xfrm>
            <a:off x="8595360" y="1340230"/>
            <a:ext cx="2682240" cy="47741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GB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est solution feasibility and compare solution option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Intelligence Surveillance on demand across geographie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React Faster to change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Reduced price point for data science capability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Competitive advantage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Technology &amp; Development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ways of working with IS – IS initiated Innovatio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93E0011-F28F-47E2-9BBA-0902F4BAB156}"/>
              </a:ext>
            </a:extLst>
          </p:cNvPr>
          <p:cNvSpPr txBox="1">
            <a:spLocks/>
          </p:cNvSpPr>
          <p:nvPr/>
        </p:nvSpPr>
        <p:spPr>
          <a:xfrm>
            <a:off x="358774" y="4156364"/>
            <a:ext cx="3527425" cy="1958000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ngible Benefits Identification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GB" sz="1400" b="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171450" indent="-1714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MS PGothic"/>
                <a:cs typeface="Segoe UI" panose="020B0502040204020203" pitchFamily="34" charset="0"/>
              </a:rPr>
              <a:t>Tangible benefit worth 100 k USD per annum – net benefits subject to spend to replace capability</a:t>
            </a:r>
          </a:p>
          <a:p>
            <a:pPr marL="10858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59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1559E-AD1E-429F-90A1-C0EC1541C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0" y="451455"/>
            <a:ext cx="10909300" cy="68580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1" dirty="0">
                <a:latin typeface="Segoe UI" panose="020B0502040204020203" pitchFamily="34" charset="0"/>
                <a:cs typeface="Segoe UI" panose="020B0502040204020203" pitchFamily="34" charset="0"/>
              </a:rPr>
              <a:t>Platform valu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21D85E-48AE-444A-BB98-F6D069134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mtClean="0"/>
              <a:t>6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201416A-0149-4DEF-9A83-AE6CBD34E1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371600"/>
            <a:ext cx="7833118" cy="4898571"/>
          </a:xfr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/>
          <a:lstStyle/>
          <a:p>
            <a:r>
              <a:rPr lang="en-GB" sz="160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totype solution and Feasibility Testing</a:t>
            </a:r>
          </a:p>
          <a:p>
            <a:pPr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endParaRPr lang="en-GB" sz="120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en-GB" sz="120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rastructure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2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ition of Solution Architecture for POC and review of solution by AIA and RDP IDEA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totype solution on interim server - may impact on other service – IDEA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2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SzPct val="150000"/>
              <a:defRPr/>
            </a:pPr>
            <a:r>
              <a:rPr lang="en-GB" sz="120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n Data Intelligence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2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keyword search list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word scraping of articles from simple and complex websites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formation of data to enable summary 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is summary using NLP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orage of data to enable intelligence gathering and trending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shboard with basic search article trending using Visualization tool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20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bscription Data Intelligence (Bonu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05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word scraping of articles from simple and complex websites</a:t>
            </a: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57188" indent="-174625">
              <a:lnSpc>
                <a:spcPct val="100000"/>
              </a:lnSpc>
              <a:spcBef>
                <a:spcPts val="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en-GB" sz="1100" b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al export of raw data from keyword search into 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MS PGothic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B4F464-8FA1-4BC1-AB84-A72D166CA602}"/>
              </a:ext>
            </a:extLst>
          </p:cNvPr>
          <p:cNvSpPr/>
          <p:nvPr/>
        </p:nvSpPr>
        <p:spPr>
          <a:xfrm>
            <a:off x="8399236" y="1371600"/>
            <a:ext cx="2878364" cy="48985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GB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ake Away Message: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Test solution feasibility and compare solution option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Better branding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Understand our Customer better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Collaboration between DT, IS, AIA, RD PPP </a:t>
            </a:r>
            <a:r>
              <a:rPr lang="en-GB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CoE</a:t>
            </a: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 and other competency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Technology &amp; Development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ucida Sans" panose="020B0602030504020204" pitchFamily="34" charset="0"/>
                <a:cs typeface="Calibri" panose="020F0502020204030204" pitchFamily="34" charset="0"/>
              </a:rPr>
              <a:t>New ways of working with our customers</a:t>
            </a:r>
          </a:p>
          <a:p>
            <a:pPr marL="171450" indent="-171450"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Lucida Sans" panose="020B0602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703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51F3-8606-4F59-AE18-A4DF8A5DA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425" y="451455"/>
            <a:ext cx="11065175" cy="710594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solidFill>
                  <a:schemeClr val="tx2"/>
                </a:solidFill>
                <a:latin typeface="Lucida Sans" panose="020B0602030504020204" pitchFamily="34" charset="0"/>
                <a:ea typeface="+mj-ea"/>
                <a:cs typeface="Segoe UI" panose="020B0502040204020203" pitchFamily="34" charset="0"/>
              </a:rPr>
              <a:t>Lessons Learnt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DA4CEC2D-A6B5-430F-AAEB-855B972A63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988264"/>
              </p:ext>
            </p:extLst>
          </p:nvPr>
        </p:nvGraphicFramePr>
        <p:xfrm>
          <a:off x="406062" y="1494275"/>
          <a:ext cx="10753725" cy="43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300">
                  <a:extLst>
                    <a:ext uri="{9D8B030D-6E8A-4147-A177-3AD203B41FA5}">
                      <a16:colId xmlns:a16="http://schemas.microsoft.com/office/drawing/2014/main" val="4066843952"/>
                    </a:ext>
                  </a:extLst>
                </a:gridCol>
                <a:gridCol w="2768600">
                  <a:extLst>
                    <a:ext uri="{9D8B030D-6E8A-4147-A177-3AD203B41FA5}">
                      <a16:colId xmlns:a16="http://schemas.microsoft.com/office/drawing/2014/main" val="439238755"/>
                    </a:ext>
                  </a:extLst>
                </a:gridCol>
                <a:gridCol w="7489825">
                  <a:extLst>
                    <a:ext uri="{9D8B030D-6E8A-4147-A177-3AD203B41FA5}">
                      <a16:colId xmlns:a16="http://schemas.microsoft.com/office/drawing/2014/main" val="39253601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solidFill>
                            <a:schemeClr val="bg2">
                              <a:lumMod val="25000"/>
                            </a:schemeClr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No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solidFill>
                            <a:schemeClr val="bg2">
                              <a:lumMod val="25000"/>
                            </a:schemeClr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Opportunity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Remediation Options</a:t>
                      </a:r>
                    </a:p>
                  </a:txBody>
                  <a:tcPr marL="90000" marR="90000" marT="90000" marB="90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87598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Innovation Framework</a:t>
                      </a:r>
                      <a:endParaRPr lang="en-GB" sz="1400">
                        <a:latin typeface="Lucida Sans" panose="020B0602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i="1" dirty="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Enterprise</a:t>
                      </a: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 Innovation Framework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Technical Environment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Level of ceremony (R&amp;C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Astellas Enterprise Standard</a:t>
                      </a:r>
                    </a:p>
                  </a:txBody>
                  <a:tcPr marL="90000" marR="90000" marT="90000" marB="90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74525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Innovation Culture</a:t>
                      </a:r>
                      <a:endParaRPr lang="en-GB" sz="1400">
                        <a:latin typeface="Lucida Sans" panose="020B0602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Lucida Sans" panose="020B0602030504020204" pitchFamily="34" charset="0"/>
                          <a:ea typeface="+mn-ea"/>
                          <a:cs typeface="Segoe UI" panose="020B0502040204020203" pitchFamily="34" charset="0"/>
                        </a:rPr>
                        <a:t>Agile ways of working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Lucida Sans" panose="020B0602030504020204" pitchFamily="34" charset="0"/>
                          <a:ea typeface="+mn-ea"/>
                          <a:cs typeface="Segoe UI" panose="020B0502040204020203" pitchFamily="34" charset="0"/>
                        </a:rPr>
                        <a:t>Showcase / awareness sessions</a:t>
                      </a:r>
                      <a:endParaRPr lang="en-GB" sz="1400" kern="1200">
                        <a:solidFill>
                          <a:schemeClr val="dk1"/>
                        </a:solidFill>
                        <a:latin typeface="Lucida Sans" panose="020B0602030504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0000" marR="90000" marT="90000" marB="90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238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Demand management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Lucida Sans" panose="020B0602030504020204" pitchFamily="34" charset="0"/>
                          <a:ea typeface="+mn-ea"/>
                          <a:cs typeface="Segoe UI" panose="020B0502040204020203" pitchFamily="34" charset="0"/>
                        </a:rPr>
                        <a:t>Single point of business accountability to champion evolu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Enterprise governance (demand prioritization - business demand and other competency centers)</a:t>
                      </a:r>
                    </a:p>
                  </a:txBody>
                  <a:tcPr marL="90000" marR="90000" marT="90000" marB="90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805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Lucida Sans" panose="020B0602030504020204" pitchFamily="34" charset="0"/>
                          <a:cs typeface="Segoe UI" panose="020B0502040204020203" pitchFamily="34" charset="0"/>
                        </a:rPr>
                        <a:t>Strategic Alignment</a:t>
                      </a:r>
                      <a:endParaRPr lang="en-GB" sz="1400">
                        <a:latin typeface="Lucida Sans" panose="020B0602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90000" marR="90000" marT="90000" marB="90000"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i="1" kern="1200" dirty="0">
                          <a:solidFill>
                            <a:schemeClr val="dk1"/>
                          </a:solidFill>
                          <a:latin typeface="Lucida Sans" panose="020B0602030504020204" pitchFamily="34" charset="0"/>
                          <a:ea typeface="+mn-ea"/>
                          <a:cs typeface="Segoe UI" panose="020B0502040204020203" pitchFamily="34" charset="0"/>
                        </a:rPr>
                        <a:t>Executive sponsorship to champion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Lucida Sans" panose="020B0602030504020204" pitchFamily="34" charset="0"/>
                          <a:ea typeface="+mn-ea"/>
                          <a:cs typeface="Segoe UI" panose="020B0502040204020203" pitchFamily="34" charset="0"/>
                        </a:rPr>
                        <a:t>Intersection between CSP and capability</a:t>
                      </a:r>
                    </a:p>
                  </a:txBody>
                  <a:tcPr marL="90000" marR="90000" marT="90000" marB="90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2423239"/>
                  </a:ext>
                </a:extLst>
              </a:tr>
            </a:tbl>
          </a:graphicData>
        </a:graphic>
      </p:graphicFrame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996531F-8271-41D7-8D69-858B37CED67F}"/>
              </a:ext>
            </a:extLst>
          </p:cNvPr>
          <p:cNvSpPr txBox="1">
            <a:spLocks/>
          </p:cNvSpPr>
          <p:nvPr/>
        </p:nvSpPr>
        <p:spPr>
          <a:xfrm>
            <a:off x="11277600" y="451455"/>
            <a:ext cx="685800" cy="68580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9AE0398-C5D1-4C23-8BB8-6DF786637BD0}" type="slidenum">
              <a:rPr lang="en-US" smtClean="0">
                <a:latin typeface="Lucida Sans" panose="020B0602030504020204" pitchFamily="34" charset="0"/>
              </a:rPr>
              <a:pPr algn="ctr"/>
              <a:t>7</a:t>
            </a:fld>
            <a:endParaRPr lang="en-US">
              <a:latin typeface="Lucida Sans" panose="020B0602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0F5781-74ED-4098-B789-3C84F8E605B3}"/>
              </a:ext>
            </a:extLst>
          </p:cNvPr>
          <p:cNvCxnSpPr>
            <a:cxnSpLocks/>
          </p:cNvCxnSpPr>
          <p:nvPr/>
        </p:nvCxnSpPr>
        <p:spPr>
          <a:xfrm>
            <a:off x="406062" y="1892819"/>
            <a:ext cx="10753725" cy="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A2ACA4D-DBC6-4DE9-9EAF-827CCDCEB22C}"/>
              </a:ext>
            </a:extLst>
          </p:cNvPr>
          <p:cNvCxnSpPr>
            <a:cxnSpLocks/>
          </p:cNvCxnSpPr>
          <p:nvPr/>
        </p:nvCxnSpPr>
        <p:spPr>
          <a:xfrm>
            <a:off x="406062" y="3405784"/>
            <a:ext cx="10753725" cy="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E0EEFC3-D728-4FA9-ADEC-E23EBA8C4CB3}"/>
              </a:ext>
            </a:extLst>
          </p:cNvPr>
          <p:cNvCxnSpPr>
            <a:cxnSpLocks/>
          </p:cNvCxnSpPr>
          <p:nvPr/>
        </p:nvCxnSpPr>
        <p:spPr>
          <a:xfrm>
            <a:off x="406062" y="5084700"/>
            <a:ext cx="10753725" cy="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580313-54E5-46E1-AF98-21A57C6E308D}"/>
              </a:ext>
            </a:extLst>
          </p:cNvPr>
          <p:cNvCxnSpPr>
            <a:cxnSpLocks/>
          </p:cNvCxnSpPr>
          <p:nvPr/>
        </p:nvCxnSpPr>
        <p:spPr>
          <a:xfrm>
            <a:off x="406062" y="5882788"/>
            <a:ext cx="10753725" cy="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F119A9-2253-4E4C-9368-8E0BFC3866EC}"/>
              </a:ext>
            </a:extLst>
          </p:cNvPr>
          <p:cNvCxnSpPr>
            <a:cxnSpLocks/>
          </p:cNvCxnSpPr>
          <p:nvPr/>
        </p:nvCxnSpPr>
        <p:spPr>
          <a:xfrm flipV="1">
            <a:off x="3673137" y="1426094"/>
            <a:ext cx="0" cy="468630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B9FC4A2-2439-4646-A72E-2C7E7EE07CEE}"/>
              </a:ext>
            </a:extLst>
          </p:cNvPr>
          <p:cNvCxnSpPr>
            <a:cxnSpLocks/>
          </p:cNvCxnSpPr>
          <p:nvPr/>
        </p:nvCxnSpPr>
        <p:spPr>
          <a:xfrm flipV="1">
            <a:off x="901362" y="1494275"/>
            <a:ext cx="0" cy="468630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F74D055-C72A-4313-86D9-C2F946751F31}"/>
              </a:ext>
            </a:extLst>
          </p:cNvPr>
          <p:cNvCxnSpPr>
            <a:cxnSpLocks/>
          </p:cNvCxnSpPr>
          <p:nvPr/>
        </p:nvCxnSpPr>
        <p:spPr>
          <a:xfrm>
            <a:off x="406062" y="4135700"/>
            <a:ext cx="10753725" cy="0"/>
          </a:xfrm>
          <a:prstGeom prst="line">
            <a:avLst/>
          </a:prstGeom>
          <a:ln w="31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0931067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D4C190-EBF3-4C9B-96EF-1D46036EF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0398-C5D1-4C23-8BB8-6DF786637BD0}" type="slidenum">
              <a:rPr lang="en-US" sz="1600" smtClean="0">
                <a:latin typeface="Lucida Sans" panose="020B0602030504020204" pitchFamily="34" charset="0"/>
              </a:rPr>
              <a:t>8</a:t>
            </a:fld>
            <a:endParaRPr lang="en-US" sz="1600">
              <a:latin typeface="Lucida Sans" panose="020B06020305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00F1FF-D7A0-4556-AB96-542BFB76C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681400"/>
            <a:ext cx="11039475" cy="45585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b="1" dirty="0">
                <a:latin typeface="Lucida Sans" panose="020B0602030504020204" pitchFamily="34" charset="0"/>
              </a:rPr>
              <a:t>Enterprise innovation framework (Example)	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66C18E5-3E64-4BAF-8AF9-C9FF1A1463B3}"/>
              </a:ext>
            </a:extLst>
          </p:cNvPr>
          <p:cNvCxnSpPr>
            <a:cxnSpLocks/>
          </p:cNvCxnSpPr>
          <p:nvPr/>
        </p:nvCxnSpPr>
        <p:spPr>
          <a:xfrm>
            <a:off x="1562801" y="2393560"/>
            <a:ext cx="854916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31">
            <a:extLst>
              <a:ext uri="{FF2B5EF4-FFF2-40B4-BE49-F238E27FC236}">
                <a16:creationId xmlns:a16="http://schemas.microsoft.com/office/drawing/2014/main" id="{8D72733D-081E-48F7-BA5A-47AF9B236842}"/>
              </a:ext>
            </a:extLst>
          </p:cNvPr>
          <p:cNvSpPr>
            <a:spLocks/>
          </p:cNvSpPr>
          <p:nvPr/>
        </p:nvSpPr>
        <p:spPr>
          <a:xfrm>
            <a:off x="2337793" y="2060609"/>
            <a:ext cx="1455215" cy="281012"/>
          </a:xfrm>
          <a:custGeom>
            <a:avLst/>
            <a:gdLst>
              <a:gd name="connsiteX0" fmla="*/ 0 w 1600200"/>
              <a:gd name="connsiteY0" fmla="*/ 0 h 904875"/>
              <a:gd name="connsiteX1" fmla="*/ 1600200 w 1600200"/>
              <a:gd name="connsiteY1" fmla="*/ 0 h 904875"/>
              <a:gd name="connsiteX2" fmla="*/ 1600200 w 1600200"/>
              <a:gd name="connsiteY2" fmla="*/ 904875 h 90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200" h="904875">
                <a:moveTo>
                  <a:pt x="0" y="0"/>
                </a:moveTo>
                <a:lnTo>
                  <a:pt x="1600200" y="0"/>
                </a:lnTo>
                <a:lnTo>
                  <a:pt x="1600200" y="904875"/>
                </a:lnTo>
              </a:path>
            </a:pathLst>
          </a:cu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rgbClr val="D9D9D9"/>
              </a:solidFill>
              <a:latin typeface="Lucida Sans" panose="020B0602030504020204" pitchFamily="34" charset="0"/>
            </a:endParaRPr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110ED090-3BB7-4C25-ABF8-3AC8FA3642AF}"/>
              </a:ext>
            </a:extLst>
          </p:cNvPr>
          <p:cNvSpPr>
            <a:spLocks/>
          </p:cNvSpPr>
          <p:nvPr/>
        </p:nvSpPr>
        <p:spPr>
          <a:xfrm>
            <a:off x="3872062" y="2060611"/>
            <a:ext cx="1539907" cy="281012"/>
          </a:xfrm>
          <a:custGeom>
            <a:avLst/>
            <a:gdLst>
              <a:gd name="connsiteX0" fmla="*/ 0 w 1600200"/>
              <a:gd name="connsiteY0" fmla="*/ 0 h 904875"/>
              <a:gd name="connsiteX1" fmla="*/ 1600200 w 1600200"/>
              <a:gd name="connsiteY1" fmla="*/ 0 h 904875"/>
              <a:gd name="connsiteX2" fmla="*/ 1600200 w 1600200"/>
              <a:gd name="connsiteY2" fmla="*/ 904875 h 90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200" h="904875">
                <a:moveTo>
                  <a:pt x="0" y="0"/>
                </a:moveTo>
                <a:lnTo>
                  <a:pt x="1600200" y="0"/>
                </a:lnTo>
                <a:lnTo>
                  <a:pt x="1600200" y="904875"/>
                </a:lnTo>
              </a:path>
            </a:pathLst>
          </a:cu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rgbClr val="D9D9D9"/>
              </a:solidFill>
              <a:latin typeface="Lucida Sans" panose="020B0602030504020204" pitchFamily="34" charset="0"/>
            </a:endParaRPr>
          </a:p>
        </p:txBody>
      </p:sp>
      <p:sp>
        <p:nvSpPr>
          <p:cNvPr id="11" name="Freeform 22">
            <a:extLst>
              <a:ext uri="{FF2B5EF4-FFF2-40B4-BE49-F238E27FC236}">
                <a16:creationId xmlns:a16="http://schemas.microsoft.com/office/drawing/2014/main" id="{C3CF596F-ACC7-4712-BF2B-55AFD3246004}"/>
              </a:ext>
            </a:extLst>
          </p:cNvPr>
          <p:cNvSpPr>
            <a:spLocks/>
          </p:cNvSpPr>
          <p:nvPr/>
        </p:nvSpPr>
        <p:spPr>
          <a:xfrm>
            <a:off x="5489417" y="2060608"/>
            <a:ext cx="2490005" cy="281010"/>
          </a:xfrm>
          <a:custGeom>
            <a:avLst/>
            <a:gdLst>
              <a:gd name="connsiteX0" fmla="*/ 0 w 1600200"/>
              <a:gd name="connsiteY0" fmla="*/ 0 h 904875"/>
              <a:gd name="connsiteX1" fmla="*/ 1600200 w 1600200"/>
              <a:gd name="connsiteY1" fmla="*/ 0 h 904875"/>
              <a:gd name="connsiteX2" fmla="*/ 1600200 w 1600200"/>
              <a:gd name="connsiteY2" fmla="*/ 904875 h 90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200" h="904875">
                <a:moveTo>
                  <a:pt x="0" y="0"/>
                </a:moveTo>
                <a:lnTo>
                  <a:pt x="1600200" y="0"/>
                </a:lnTo>
                <a:lnTo>
                  <a:pt x="1600200" y="904875"/>
                </a:lnTo>
              </a:path>
            </a:pathLst>
          </a:cu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rgbClr val="D9D9D9"/>
              </a:solidFill>
              <a:latin typeface="Lucida Sans" panose="020B0602030504020204" pitchFamily="34" charset="0"/>
            </a:endParaRPr>
          </a:p>
        </p:txBody>
      </p:sp>
      <p:sp>
        <p:nvSpPr>
          <p:cNvPr id="12" name="Freeform 25">
            <a:extLst>
              <a:ext uri="{FF2B5EF4-FFF2-40B4-BE49-F238E27FC236}">
                <a16:creationId xmlns:a16="http://schemas.microsoft.com/office/drawing/2014/main" id="{4DF6123E-9228-4F83-A18E-77E3336D4AE2}"/>
              </a:ext>
            </a:extLst>
          </p:cNvPr>
          <p:cNvSpPr>
            <a:spLocks/>
          </p:cNvSpPr>
          <p:nvPr/>
        </p:nvSpPr>
        <p:spPr>
          <a:xfrm>
            <a:off x="8033423" y="2060607"/>
            <a:ext cx="2078543" cy="281010"/>
          </a:xfrm>
          <a:custGeom>
            <a:avLst/>
            <a:gdLst>
              <a:gd name="connsiteX0" fmla="*/ 0 w 1600200"/>
              <a:gd name="connsiteY0" fmla="*/ 0 h 904875"/>
              <a:gd name="connsiteX1" fmla="*/ 1600200 w 1600200"/>
              <a:gd name="connsiteY1" fmla="*/ 0 h 904875"/>
              <a:gd name="connsiteX2" fmla="*/ 1600200 w 1600200"/>
              <a:gd name="connsiteY2" fmla="*/ 904875 h 90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200" h="904875">
                <a:moveTo>
                  <a:pt x="0" y="0"/>
                </a:moveTo>
                <a:lnTo>
                  <a:pt x="1600200" y="0"/>
                </a:lnTo>
                <a:lnTo>
                  <a:pt x="1600200" y="904875"/>
                </a:lnTo>
              </a:path>
            </a:pathLst>
          </a:cu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rgbClr val="D9D9D9"/>
              </a:solidFill>
              <a:latin typeface="Lucida Sans" panose="020B0602030504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5F90AEA-83B0-450D-B0F9-71D1F7D5C010}"/>
              </a:ext>
            </a:extLst>
          </p:cNvPr>
          <p:cNvCxnSpPr>
            <a:cxnSpLocks/>
          </p:cNvCxnSpPr>
          <p:nvPr/>
        </p:nvCxnSpPr>
        <p:spPr>
          <a:xfrm>
            <a:off x="1562801" y="3175423"/>
            <a:ext cx="8549165" cy="0"/>
          </a:xfrm>
          <a:prstGeom prst="line">
            <a:avLst/>
          </a:prstGeom>
          <a:noFill/>
          <a:ln w="12700" cap="flat" cmpd="sng" algn="ctr">
            <a:solidFill>
              <a:schemeClr val="accent6"/>
            </a:solidFill>
            <a:prstDash val="sysDot"/>
          </a:ln>
          <a:effectLst/>
        </p:spPr>
      </p:cxnSp>
      <p:sp>
        <p:nvSpPr>
          <p:cNvPr id="14" name="AutoShape 250">
            <a:extLst>
              <a:ext uri="{FF2B5EF4-FFF2-40B4-BE49-F238E27FC236}">
                <a16:creationId xmlns:a16="http://schemas.microsoft.com/office/drawing/2014/main" id="{07638615-846A-433F-A474-58ABCFFE7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331" y="2122525"/>
            <a:ext cx="1306632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altLang="ja-JP" sz="1100" b="1" dirty="0">
                <a:solidFill>
                  <a:schemeClr val="accent2"/>
                </a:solidFill>
                <a:latin typeface="Lucida Sans" panose="020B0602030504020204" pitchFamily="34" charset="0"/>
                <a:cs typeface="Arial" pitchFamily="34" charset="0"/>
              </a:rPr>
              <a:t>Pilot in real world</a:t>
            </a:r>
            <a:endParaRPr lang="en-GB" altLang="ja-JP" sz="1100" dirty="0">
              <a:solidFill>
                <a:schemeClr val="accent2"/>
              </a:solidFill>
              <a:latin typeface="Lucida Sans" panose="020B0602030504020204" pitchFamily="34" charset="0"/>
              <a:cs typeface="Arial" pitchFamily="34" charset="0"/>
            </a:endParaRPr>
          </a:p>
        </p:txBody>
      </p:sp>
      <p:sp>
        <p:nvSpPr>
          <p:cNvPr id="15" name="AutoShape 250">
            <a:extLst>
              <a:ext uri="{FF2B5EF4-FFF2-40B4-BE49-F238E27FC236}">
                <a16:creationId xmlns:a16="http://schemas.microsoft.com/office/drawing/2014/main" id="{EDD580AC-744B-4E92-9937-E65A5DC6FD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4869" y="2122524"/>
            <a:ext cx="2255546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altLang="ja-JP" sz="1100" b="1" dirty="0">
                <a:solidFill>
                  <a:schemeClr val="accent2"/>
                </a:solidFill>
                <a:latin typeface="Lucida Sans" panose="020B0602030504020204" pitchFamily="34" charset="0"/>
                <a:cs typeface="Arial" pitchFamily="34" charset="0"/>
              </a:rPr>
              <a:t>Develop &amp; deploy</a:t>
            </a:r>
            <a:endParaRPr lang="en-GB" altLang="ja-JP" sz="1100" dirty="0">
              <a:solidFill>
                <a:schemeClr val="accent2"/>
              </a:solidFill>
              <a:latin typeface="Lucida Sans" panose="020B0602030504020204" pitchFamily="34" charset="0"/>
              <a:cs typeface="Arial" pitchFamily="34" charset="0"/>
            </a:endParaRPr>
          </a:p>
        </p:txBody>
      </p:sp>
      <p:sp>
        <p:nvSpPr>
          <p:cNvPr id="16" name="AutoShape 250">
            <a:extLst>
              <a:ext uri="{FF2B5EF4-FFF2-40B4-BE49-F238E27FC236}">
                <a16:creationId xmlns:a16="http://schemas.microsoft.com/office/drawing/2014/main" id="{FE4F0CA5-5C64-4227-ADB7-19589EDC92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2321" y="2122524"/>
            <a:ext cx="1969645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altLang="ja-JP" sz="1100" b="1" dirty="0">
                <a:solidFill>
                  <a:schemeClr val="accent2"/>
                </a:solidFill>
                <a:latin typeface="Lucida Sans" panose="020B0602030504020204" pitchFamily="34" charset="0"/>
                <a:cs typeface="Arial" pitchFamily="34" charset="0"/>
              </a:rPr>
              <a:t>Maintain &amp; enhance</a:t>
            </a:r>
            <a:endParaRPr lang="en-GB" altLang="ja-JP" sz="1100" dirty="0">
              <a:solidFill>
                <a:schemeClr val="accent2"/>
              </a:solidFill>
              <a:latin typeface="Lucida Sans" panose="020B0602030504020204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4B2E81-D617-4E0C-A5AA-30FFCE4A5F32}"/>
              </a:ext>
            </a:extLst>
          </p:cNvPr>
          <p:cNvSpPr txBox="1">
            <a:spLocks/>
          </p:cNvSpPr>
          <p:nvPr/>
        </p:nvSpPr>
        <p:spPr>
          <a:xfrm>
            <a:off x="2337793" y="2514360"/>
            <a:ext cx="280472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761495" eaLnBrk="1" hangingPunct="1">
              <a:buClr>
                <a:schemeClr val="tx2"/>
              </a:buClr>
              <a:defRPr kumimoji="1" baseline="0">
                <a:latin typeface="+mn-lt"/>
                <a:cs typeface="Arial" pitchFamily="34" charset="0"/>
              </a:defRPr>
            </a:lvl1pPr>
            <a:lvl2pPr marL="164721" lvl="1" indent="-163371" defTabSz="761495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kumimoji="1" baseline="0">
                <a:latin typeface="+mn-lt"/>
                <a:cs typeface="Arial" pitchFamily="34" charset="0"/>
              </a:defRPr>
            </a:lvl2pPr>
            <a:lvl3pPr marL="388849" lvl="2" indent="-222778" defTabSz="7614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  <a:cs typeface="Arial" pitchFamily="34" charset="0"/>
              </a:defRPr>
            </a:lvl3pPr>
            <a:lvl4pPr marL="522516" lvl="3" indent="-132317" defTabSz="761495" eaLnBrk="1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kumimoji="1" baseline="0">
                <a:latin typeface="+mn-lt"/>
                <a:cs typeface="Arial" pitchFamily="34" charset="0"/>
              </a:defRPr>
            </a:lvl4pPr>
            <a:lvl5pPr marL="637712" lvl="4" indent="-110714" defTabSz="761495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  <a:cs typeface="Arial" pitchFamily="34" charset="0"/>
              </a:defRPr>
            </a:lvl5pPr>
            <a:lvl6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6pPr>
            <a:lvl7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7pPr>
            <a:lvl8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8pPr>
            <a:lvl9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9pPr>
          </a:lstStyle>
          <a:p>
            <a:pPr lvl="1">
              <a:spcBef>
                <a:spcPct val="17500"/>
              </a:spcBef>
              <a:buClr>
                <a:srgbClr val="830051"/>
              </a:buClr>
            </a:pPr>
            <a:r>
              <a:rPr lang="en-US" sz="1100" dirty="0">
                <a:solidFill>
                  <a:srgbClr val="000000"/>
                </a:solidFill>
                <a:latin typeface="Lucida Sans" panose="020B0602030504020204" pitchFamily="34" charset="0"/>
              </a:rPr>
              <a:t>Product owners to engage business and ‘own’ methodolog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F3CA1A-B2BB-4651-AEAD-29E20EC4D14C}"/>
              </a:ext>
            </a:extLst>
          </p:cNvPr>
          <p:cNvSpPr txBox="1">
            <a:spLocks/>
          </p:cNvSpPr>
          <p:nvPr/>
        </p:nvSpPr>
        <p:spPr>
          <a:xfrm>
            <a:off x="5574869" y="2514360"/>
            <a:ext cx="2255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761495" eaLnBrk="1" hangingPunct="1">
              <a:buClr>
                <a:schemeClr val="tx2"/>
              </a:buClr>
              <a:defRPr kumimoji="1" baseline="0">
                <a:latin typeface="+mn-lt"/>
                <a:cs typeface="Arial" pitchFamily="34" charset="0"/>
              </a:defRPr>
            </a:lvl1pPr>
            <a:lvl2pPr marL="164721" lvl="1" indent="-163371" defTabSz="761495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kumimoji="1" baseline="0">
                <a:latin typeface="+mn-lt"/>
                <a:cs typeface="Arial" pitchFamily="34" charset="0"/>
              </a:defRPr>
            </a:lvl2pPr>
            <a:lvl3pPr marL="388849" lvl="2" indent="-222778" defTabSz="7614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  <a:cs typeface="Arial" pitchFamily="34" charset="0"/>
              </a:defRPr>
            </a:lvl3pPr>
            <a:lvl4pPr marL="522516" lvl="3" indent="-132317" defTabSz="761495" eaLnBrk="1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kumimoji="1" baseline="0">
                <a:latin typeface="+mn-lt"/>
                <a:cs typeface="Arial" pitchFamily="34" charset="0"/>
              </a:defRPr>
            </a:lvl4pPr>
            <a:lvl5pPr marL="637712" lvl="4" indent="-110714" defTabSz="761495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  <a:cs typeface="Arial" pitchFamily="34" charset="0"/>
              </a:defRPr>
            </a:lvl5pPr>
            <a:lvl6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6pPr>
            <a:lvl7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7pPr>
            <a:lvl8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8pPr>
            <a:lvl9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9pPr>
          </a:lstStyle>
          <a:p>
            <a:pPr lvl="1">
              <a:spcBef>
                <a:spcPct val="17500"/>
              </a:spcBef>
              <a:buClr>
                <a:srgbClr val="830051"/>
              </a:buClr>
            </a:pPr>
            <a:r>
              <a:rPr lang="en-US" sz="1100" dirty="0">
                <a:solidFill>
                  <a:srgbClr val="000000"/>
                </a:solidFill>
                <a:latin typeface="Lucida Sans" panose="020B0602030504020204" pitchFamily="34" charset="0"/>
              </a:rPr>
              <a:t>Product owners with largely outsourced development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357D22-3EF2-41F1-97C7-01BD359E7587}"/>
              </a:ext>
            </a:extLst>
          </p:cNvPr>
          <p:cNvGrpSpPr>
            <a:grpSpLocks/>
          </p:cNvGrpSpPr>
          <p:nvPr/>
        </p:nvGrpSpPr>
        <p:grpSpPr>
          <a:xfrm>
            <a:off x="1562801" y="2514360"/>
            <a:ext cx="8549165" cy="369332"/>
            <a:chOff x="297418" y="1501108"/>
            <a:chExt cx="8549165" cy="369332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CBE37BD-4260-4D42-B683-1CB1633B70C0}"/>
                </a:ext>
              </a:extLst>
            </p:cNvPr>
            <p:cNvSpPr>
              <a:spLocks/>
            </p:cNvSpPr>
            <p:nvPr/>
          </p:nvSpPr>
          <p:spPr>
            <a:xfrm>
              <a:off x="297418" y="1501108"/>
              <a:ext cx="720991" cy="3693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1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Internal capability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A223D0E-CD3B-4BCB-9D2C-AE6D4887FA3C}"/>
                </a:ext>
              </a:extLst>
            </p:cNvPr>
            <p:cNvSpPr txBox="1">
              <a:spLocks/>
            </p:cNvSpPr>
            <p:nvPr/>
          </p:nvSpPr>
          <p:spPr>
            <a:xfrm>
              <a:off x="6876938" y="1501108"/>
              <a:ext cx="196964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61495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64721" lvl="1" indent="-163371" defTabSz="761495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388849" lvl="2" indent="-222778" defTabSz="7614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522516" lvl="3" indent="-132317" defTabSz="761495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637712" lvl="4" indent="-110714" defTabSz="7614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Product owner with technical / IS support</a:t>
              </a:r>
            </a:p>
          </p:txBody>
        </p:sp>
      </p:grpSp>
      <p:sp>
        <p:nvSpPr>
          <p:cNvPr id="22" name="Chevron 49">
            <a:extLst>
              <a:ext uri="{FF2B5EF4-FFF2-40B4-BE49-F238E27FC236}">
                <a16:creationId xmlns:a16="http://schemas.microsoft.com/office/drawing/2014/main" id="{0989302A-58D8-4B69-93DF-6101EAE541CA}"/>
              </a:ext>
            </a:extLst>
          </p:cNvPr>
          <p:cNvSpPr/>
          <p:nvPr/>
        </p:nvSpPr>
        <p:spPr>
          <a:xfrm>
            <a:off x="3698426" y="2017054"/>
            <a:ext cx="95006" cy="950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3" name="Chevron 50">
            <a:extLst>
              <a:ext uri="{FF2B5EF4-FFF2-40B4-BE49-F238E27FC236}">
                <a16:creationId xmlns:a16="http://schemas.microsoft.com/office/drawing/2014/main" id="{CD05E450-7DE3-4D6F-AD99-FEF69C666AAB}"/>
              </a:ext>
            </a:extLst>
          </p:cNvPr>
          <p:cNvSpPr/>
          <p:nvPr/>
        </p:nvSpPr>
        <p:spPr>
          <a:xfrm>
            <a:off x="3725343" y="1976064"/>
            <a:ext cx="176987" cy="176987"/>
          </a:xfrm>
          <a:prstGeom prst="chevron">
            <a:avLst>
              <a:gd name="adj" fmla="val 47413"/>
            </a:avLst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4" name="Chevron 52">
            <a:extLst>
              <a:ext uri="{FF2B5EF4-FFF2-40B4-BE49-F238E27FC236}">
                <a16:creationId xmlns:a16="http://schemas.microsoft.com/office/drawing/2014/main" id="{73C9E079-2EB3-4D5F-B003-9BC0A7881D9E}"/>
              </a:ext>
            </a:extLst>
          </p:cNvPr>
          <p:cNvSpPr/>
          <p:nvPr/>
        </p:nvSpPr>
        <p:spPr>
          <a:xfrm>
            <a:off x="5316964" y="2024311"/>
            <a:ext cx="95006" cy="950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5" name="Chevron 53">
            <a:extLst>
              <a:ext uri="{FF2B5EF4-FFF2-40B4-BE49-F238E27FC236}">
                <a16:creationId xmlns:a16="http://schemas.microsoft.com/office/drawing/2014/main" id="{45560DA5-8575-418B-B692-9565D0017BF6}"/>
              </a:ext>
            </a:extLst>
          </p:cNvPr>
          <p:cNvSpPr/>
          <p:nvPr/>
        </p:nvSpPr>
        <p:spPr>
          <a:xfrm>
            <a:off x="5343881" y="1983321"/>
            <a:ext cx="176987" cy="176987"/>
          </a:xfrm>
          <a:prstGeom prst="chevron">
            <a:avLst>
              <a:gd name="adj" fmla="val 47413"/>
            </a:avLst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6" name="Chevron 55">
            <a:extLst>
              <a:ext uri="{FF2B5EF4-FFF2-40B4-BE49-F238E27FC236}">
                <a16:creationId xmlns:a16="http://schemas.microsoft.com/office/drawing/2014/main" id="{1674CCFA-A971-475E-8552-A60DA6459910}"/>
              </a:ext>
            </a:extLst>
          </p:cNvPr>
          <p:cNvSpPr/>
          <p:nvPr/>
        </p:nvSpPr>
        <p:spPr>
          <a:xfrm>
            <a:off x="7884416" y="2017054"/>
            <a:ext cx="95006" cy="950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7" name="Chevron 56">
            <a:extLst>
              <a:ext uri="{FF2B5EF4-FFF2-40B4-BE49-F238E27FC236}">
                <a16:creationId xmlns:a16="http://schemas.microsoft.com/office/drawing/2014/main" id="{F98CF730-7179-48A3-BC79-729FC6184EB8}"/>
              </a:ext>
            </a:extLst>
          </p:cNvPr>
          <p:cNvSpPr/>
          <p:nvPr/>
        </p:nvSpPr>
        <p:spPr>
          <a:xfrm>
            <a:off x="7911333" y="1976064"/>
            <a:ext cx="176987" cy="176987"/>
          </a:xfrm>
          <a:prstGeom prst="chevron">
            <a:avLst>
              <a:gd name="adj" fmla="val 47413"/>
            </a:avLst>
          </a:pr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  <a:latin typeface="Lucida Sans" panose="020B0602030504020204" pitchFamily="34" charset="0"/>
            </a:endParaRPr>
          </a:p>
        </p:txBody>
      </p:sp>
      <p:sp>
        <p:nvSpPr>
          <p:cNvPr id="28" name="AutoShape 250">
            <a:extLst>
              <a:ext uri="{FF2B5EF4-FFF2-40B4-BE49-F238E27FC236}">
                <a16:creationId xmlns:a16="http://schemas.microsoft.com/office/drawing/2014/main" id="{96D6F6D6-31E1-4C7F-B12A-8AA6DF7CB9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6340" y="2122525"/>
            <a:ext cx="1188000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altLang="ja-JP" sz="1100" b="1" dirty="0">
                <a:solidFill>
                  <a:schemeClr val="accent2"/>
                </a:solidFill>
                <a:latin typeface="Lucida Sans" panose="020B0602030504020204" pitchFamily="34" charset="0"/>
                <a:cs typeface="Arial" pitchFamily="34" charset="0"/>
              </a:rPr>
              <a:t>POC / </a:t>
            </a:r>
            <a:r>
              <a:rPr lang="en-GB" altLang="ja-JP" sz="1100" b="1" dirty="0" err="1">
                <a:solidFill>
                  <a:schemeClr val="accent2"/>
                </a:solidFill>
                <a:latin typeface="Lucida Sans" panose="020B0602030504020204" pitchFamily="34" charset="0"/>
                <a:cs typeface="Arial" pitchFamily="34" charset="0"/>
              </a:rPr>
              <a:t>Protoype</a:t>
            </a:r>
            <a:endParaRPr lang="en-GB" altLang="ja-JP" sz="1100" dirty="0">
              <a:solidFill>
                <a:schemeClr val="accent2"/>
              </a:solidFill>
              <a:latin typeface="Lucida Sans" panose="020B0602030504020204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E37F585-7A05-42D1-A21C-A88AC0CF3B60}"/>
              </a:ext>
            </a:extLst>
          </p:cNvPr>
          <p:cNvGrpSpPr/>
          <p:nvPr/>
        </p:nvGrpSpPr>
        <p:grpSpPr>
          <a:xfrm>
            <a:off x="1562801" y="3320588"/>
            <a:ext cx="8549165" cy="1046120"/>
            <a:chOff x="297418" y="2345436"/>
            <a:chExt cx="8549165" cy="104612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20431D1-D505-44F1-B253-8931491F00C3}"/>
                </a:ext>
              </a:extLst>
            </p:cNvPr>
            <p:cNvSpPr>
              <a:spLocks/>
            </p:cNvSpPr>
            <p:nvPr/>
          </p:nvSpPr>
          <p:spPr>
            <a:xfrm>
              <a:off x="297418" y="2345436"/>
              <a:ext cx="720991" cy="38826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100" b="1" dirty="0">
                  <a:solidFill>
                    <a:schemeClr val="accent2"/>
                  </a:solidFill>
                  <a:latin typeface="Lucida Sans" panose="020B0602030504020204" pitchFamily="34" charset="0"/>
                </a:rPr>
                <a:t>External support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302D78A-BCF4-4A69-9047-AB65AAD053C3}"/>
                </a:ext>
              </a:extLst>
            </p:cNvPr>
            <p:cNvSpPr txBox="1">
              <a:spLocks/>
            </p:cNvSpPr>
            <p:nvPr/>
          </p:nvSpPr>
          <p:spPr>
            <a:xfrm>
              <a:off x="2690948" y="2345436"/>
              <a:ext cx="1306632" cy="1046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61495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64721" lvl="1" indent="-163371" defTabSz="761495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388849" lvl="2" indent="-222778" defTabSz="7614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522516" lvl="3" indent="-132317" defTabSz="761495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637712" lvl="4" indent="-110714" defTabSz="7614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 err="1">
                  <a:solidFill>
                    <a:srgbClr val="000000"/>
                  </a:solidFill>
                  <a:latin typeface="Lucida Sans" panose="020B0602030504020204" pitchFamily="34" charset="0"/>
                </a:rPr>
                <a:t>Programme</a:t>
              </a: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 management</a:t>
              </a:r>
            </a:p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Specialist high-end data science and/or data engineering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96E7F34-8004-473B-A77A-80547534E278}"/>
                </a:ext>
              </a:extLst>
            </p:cNvPr>
            <p:cNvSpPr txBox="1">
              <a:spLocks/>
            </p:cNvSpPr>
            <p:nvPr/>
          </p:nvSpPr>
          <p:spPr>
            <a:xfrm>
              <a:off x="4309486" y="2345436"/>
              <a:ext cx="2255546" cy="707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61495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64721" lvl="1" indent="-163371" defTabSz="761495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388849" lvl="2" indent="-222778" defTabSz="7614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522516" lvl="3" indent="-132317" defTabSz="761495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637712" lvl="4" indent="-110714" defTabSz="7614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External software development and </a:t>
              </a:r>
              <a:r>
                <a:rPr lang="en-US" sz="1100" dirty="0" err="1">
                  <a:solidFill>
                    <a:srgbClr val="000000"/>
                  </a:solidFill>
                  <a:latin typeface="Lucida Sans" panose="020B0602030504020204" pitchFamily="34" charset="0"/>
                </a:rPr>
                <a:t>programme</a:t>
              </a: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 managers</a:t>
              </a:r>
            </a:p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Change management suppor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8A1BCB6-5F88-4B62-ADB0-BDA054904DF4}"/>
                </a:ext>
              </a:extLst>
            </p:cNvPr>
            <p:cNvSpPr txBox="1">
              <a:spLocks/>
            </p:cNvSpPr>
            <p:nvPr/>
          </p:nvSpPr>
          <p:spPr>
            <a:xfrm>
              <a:off x="6876938" y="2345436"/>
              <a:ext cx="1969645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61495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64721" lvl="1" indent="-163371" defTabSz="761495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388849" lvl="2" indent="-222778" defTabSz="7614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522516" lvl="3" indent="-132317" defTabSz="761495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637712" lvl="4" indent="-110714" defTabSz="7614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Flexible support for new development and ad hoc enhancement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51A6DC7-C701-48DB-B87B-A7CA523E319D}"/>
                </a:ext>
              </a:extLst>
            </p:cNvPr>
            <p:cNvSpPr txBox="1">
              <a:spLocks/>
            </p:cNvSpPr>
            <p:nvPr/>
          </p:nvSpPr>
          <p:spPr>
            <a:xfrm>
              <a:off x="1072410" y="2345436"/>
              <a:ext cx="1306632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761495" eaLnBrk="1" hangingPunct="1">
                <a:buClr>
                  <a:schemeClr val="tx2"/>
                </a:buClr>
                <a:defRPr kumimoji="1" baseline="0">
                  <a:latin typeface="+mn-lt"/>
                  <a:cs typeface="Arial" pitchFamily="34" charset="0"/>
                </a:defRPr>
              </a:lvl1pPr>
              <a:lvl2pPr marL="164721" lvl="1" indent="-163371" defTabSz="761495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 baseline="0">
                  <a:latin typeface="+mn-lt"/>
                  <a:cs typeface="Arial" pitchFamily="34" charset="0"/>
                </a:defRPr>
              </a:lvl2pPr>
              <a:lvl3pPr marL="388849" lvl="2" indent="-222778" defTabSz="7614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kumimoji="1" baseline="0">
                  <a:latin typeface="+mn-lt"/>
                  <a:cs typeface="Arial" pitchFamily="34" charset="0"/>
                </a:defRPr>
              </a:lvl3pPr>
              <a:lvl4pPr marL="522516" lvl="3" indent="-132317" defTabSz="761495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kumimoji="1" baseline="0">
                  <a:latin typeface="+mn-lt"/>
                  <a:cs typeface="Arial" pitchFamily="34" charset="0"/>
                </a:defRPr>
              </a:lvl4pPr>
              <a:lvl5pPr marL="637712" lvl="4" indent="-110714" defTabSz="7614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kumimoji="1" baseline="0">
                  <a:latin typeface="+mn-lt"/>
                  <a:cs typeface="Arial" pitchFamily="34" charset="0"/>
                </a:defRPr>
              </a:lvl5pPr>
              <a:lvl6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6pPr>
              <a:lvl7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7pPr>
              <a:lvl8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8pPr>
              <a:lvl9pPr marL="637712" indent="-110714" defTabSz="7614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>
                  <a:latin typeface="+mn-lt"/>
                  <a:ea typeface="MS PGothic" pitchFamily="34" charset="-128"/>
                </a:defRPr>
              </a:lvl9pPr>
            </a:lstStyle>
            <a:p>
              <a:pPr lvl="1">
                <a:spcBef>
                  <a:spcPct val="17500"/>
                </a:spcBef>
                <a:buClr>
                  <a:srgbClr val="830051"/>
                </a:buClr>
              </a:pPr>
              <a:r>
                <a:rPr lang="en-US" sz="1100" dirty="0">
                  <a:solidFill>
                    <a:srgbClr val="000000"/>
                  </a:solidFill>
                  <a:latin typeface="Lucida Sans" panose="020B0602030504020204" pitchFamily="34" charset="0"/>
                </a:rPr>
                <a:t>Specialist / high-end data science and/or data engineering from academia and business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DA781E6F-3DDF-4DA0-80B5-0762AC3D9BC1}"/>
              </a:ext>
            </a:extLst>
          </p:cNvPr>
          <p:cNvSpPr txBox="1">
            <a:spLocks/>
          </p:cNvSpPr>
          <p:nvPr/>
        </p:nvSpPr>
        <p:spPr>
          <a:xfrm>
            <a:off x="3384730" y="1763833"/>
            <a:ext cx="91724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761495" eaLnBrk="1" hangingPunct="1">
              <a:buClr>
                <a:schemeClr val="tx2"/>
              </a:buClr>
              <a:defRPr kumimoji="1" baseline="0">
                <a:latin typeface="+mn-lt"/>
                <a:cs typeface="Arial" pitchFamily="34" charset="0"/>
              </a:defRPr>
            </a:lvl1pPr>
            <a:lvl2pPr marL="164721" lvl="1" indent="-163371" defTabSz="761495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kumimoji="1" baseline="0">
                <a:latin typeface="+mn-lt"/>
                <a:cs typeface="Arial" pitchFamily="34" charset="0"/>
              </a:defRPr>
            </a:lvl2pPr>
            <a:lvl3pPr marL="388849" lvl="2" indent="-222778" defTabSz="7614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  <a:cs typeface="Arial" pitchFamily="34" charset="0"/>
              </a:defRPr>
            </a:lvl3pPr>
            <a:lvl4pPr marL="522516" lvl="3" indent="-132317" defTabSz="761495" eaLnBrk="1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kumimoji="1" baseline="0">
                <a:latin typeface="+mn-lt"/>
                <a:cs typeface="Arial" pitchFamily="34" charset="0"/>
              </a:defRPr>
            </a:lvl4pPr>
            <a:lvl5pPr marL="637712" lvl="4" indent="-110714" defTabSz="761495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  <a:cs typeface="Arial" pitchFamily="34" charset="0"/>
              </a:defRPr>
            </a:lvl5pPr>
            <a:lvl6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6pPr>
            <a:lvl7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7pPr>
            <a:lvl8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8pPr>
            <a:lvl9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9pPr>
          </a:lstStyle>
          <a:p>
            <a:pPr marL="1350" lvl="1" indent="0" algn="ctr">
              <a:spcBef>
                <a:spcPct val="17500"/>
              </a:spcBef>
              <a:buClr>
                <a:srgbClr val="830051"/>
              </a:buClr>
              <a:buNone/>
            </a:pPr>
            <a:r>
              <a:rPr lang="en-US" sz="1100" b="1" dirty="0">
                <a:solidFill>
                  <a:schemeClr val="tx2"/>
                </a:solidFill>
                <a:latin typeface="Lucida Sans" panose="020B0602030504020204" pitchFamily="34" charset="0"/>
              </a:rPr>
              <a:t>Go / no-go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0548D40-C7DC-4967-B927-1B3E414D7A5B}"/>
              </a:ext>
            </a:extLst>
          </p:cNvPr>
          <p:cNvSpPr txBox="1">
            <a:spLocks/>
          </p:cNvSpPr>
          <p:nvPr/>
        </p:nvSpPr>
        <p:spPr>
          <a:xfrm>
            <a:off x="4943856" y="1763833"/>
            <a:ext cx="91724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761495" eaLnBrk="1" hangingPunct="1">
              <a:buClr>
                <a:schemeClr val="tx2"/>
              </a:buClr>
              <a:defRPr kumimoji="1" baseline="0">
                <a:latin typeface="+mn-lt"/>
                <a:cs typeface="Arial" pitchFamily="34" charset="0"/>
              </a:defRPr>
            </a:lvl1pPr>
            <a:lvl2pPr marL="164721" lvl="1" indent="-163371" defTabSz="761495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kumimoji="1" baseline="0">
                <a:latin typeface="+mn-lt"/>
                <a:cs typeface="Arial" pitchFamily="34" charset="0"/>
              </a:defRPr>
            </a:lvl2pPr>
            <a:lvl3pPr marL="388849" lvl="2" indent="-222778" defTabSz="7614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  <a:cs typeface="Arial" pitchFamily="34" charset="0"/>
              </a:defRPr>
            </a:lvl3pPr>
            <a:lvl4pPr marL="522516" lvl="3" indent="-132317" defTabSz="761495" eaLnBrk="1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kumimoji="1" baseline="0">
                <a:latin typeface="+mn-lt"/>
                <a:cs typeface="Arial" pitchFamily="34" charset="0"/>
              </a:defRPr>
            </a:lvl4pPr>
            <a:lvl5pPr marL="637712" lvl="4" indent="-110714" defTabSz="761495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  <a:cs typeface="Arial" pitchFamily="34" charset="0"/>
              </a:defRPr>
            </a:lvl5pPr>
            <a:lvl6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6pPr>
            <a:lvl7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7pPr>
            <a:lvl8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8pPr>
            <a:lvl9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9pPr>
          </a:lstStyle>
          <a:p>
            <a:pPr marL="1350" lvl="1" indent="0" algn="ctr">
              <a:spcBef>
                <a:spcPct val="17500"/>
              </a:spcBef>
              <a:buClr>
                <a:srgbClr val="830051"/>
              </a:buClr>
              <a:buNone/>
            </a:pPr>
            <a:r>
              <a:rPr lang="en-US" sz="1100" b="1" dirty="0">
                <a:solidFill>
                  <a:schemeClr val="tx2"/>
                </a:solidFill>
                <a:latin typeface="Lucida Sans" panose="020B0602030504020204" pitchFamily="34" charset="0"/>
              </a:rPr>
              <a:t>Go / no-go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63A1B08-7148-4335-BA5F-4ACF5E6A0A28}"/>
              </a:ext>
            </a:extLst>
          </p:cNvPr>
          <p:cNvSpPr/>
          <p:nvPr/>
        </p:nvSpPr>
        <p:spPr>
          <a:xfrm>
            <a:off x="1562802" y="5003516"/>
            <a:ext cx="9040544" cy="7463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tx1"/>
              </a:solidFill>
              <a:latin typeface="Lucida Sans" panose="020B0602030504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5BF274-1702-435C-AA64-2FF0CCF78D03}"/>
              </a:ext>
            </a:extLst>
          </p:cNvPr>
          <p:cNvSpPr txBox="1"/>
          <p:nvPr/>
        </p:nvSpPr>
        <p:spPr>
          <a:xfrm>
            <a:off x="3181083" y="5061217"/>
            <a:ext cx="558995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761495" eaLnBrk="1" hangingPunct="1">
              <a:buClr>
                <a:schemeClr val="tx2"/>
              </a:buClr>
              <a:defRPr kumimoji="1" baseline="0">
                <a:latin typeface="+mn-lt"/>
                <a:cs typeface="Arial" pitchFamily="34" charset="0"/>
              </a:defRPr>
            </a:lvl1pPr>
            <a:lvl2pPr marL="164721" lvl="1" indent="-163371" defTabSz="761495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kumimoji="1" baseline="0">
                <a:latin typeface="+mn-lt"/>
                <a:cs typeface="Arial" pitchFamily="34" charset="0"/>
              </a:defRPr>
            </a:lvl2pPr>
            <a:lvl3pPr marL="388849" lvl="2" indent="-222778" defTabSz="7614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  <a:cs typeface="Arial" pitchFamily="34" charset="0"/>
              </a:defRPr>
            </a:lvl3pPr>
            <a:lvl4pPr marL="522516" lvl="3" indent="-132317" defTabSz="761495" eaLnBrk="1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kumimoji="1" baseline="0">
                <a:latin typeface="+mn-lt"/>
                <a:cs typeface="Arial" pitchFamily="34" charset="0"/>
              </a:defRPr>
            </a:lvl4pPr>
            <a:lvl5pPr marL="637712" lvl="4" indent="-110714" defTabSz="761495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  <a:cs typeface="Arial" pitchFamily="34" charset="0"/>
              </a:defRPr>
            </a:lvl5pPr>
            <a:lvl6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6pPr>
            <a:lvl7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7pPr>
            <a:lvl8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8pPr>
            <a:lvl9pPr marL="637712" indent="-110714" defTabSz="7614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>
                <a:latin typeface="+mn-lt"/>
                <a:ea typeface="MS PGothic" pitchFamily="34" charset="-128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100" b="1" dirty="0">
                <a:solidFill>
                  <a:schemeClr val="bg1"/>
                </a:solidFill>
                <a:latin typeface="Lucida Sans" panose="020B0602030504020204" pitchFamily="34" charset="0"/>
              </a:rPr>
              <a:t>Input from external partners</a:t>
            </a:r>
          </a:p>
          <a:p>
            <a:pPr lvl="1">
              <a:spcAft>
                <a:spcPts val="300"/>
              </a:spcAft>
              <a:buClr>
                <a:schemeClr val="bg1"/>
              </a:buClr>
            </a:pPr>
            <a:r>
              <a:rPr lang="en-US" sz="1100" dirty="0">
                <a:solidFill>
                  <a:schemeClr val="bg1"/>
                </a:solidFill>
                <a:latin typeface="Lucida Sans" panose="020B0602030504020204" pitchFamily="34" charset="0"/>
              </a:rPr>
              <a:t>Specialist / high-end expertise and best practice</a:t>
            </a:r>
          </a:p>
          <a:p>
            <a:pPr lvl="1">
              <a:spcAft>
                <a:spcPts val="300"/>
              </a:spcAft>
              <a:buClr>
                <a:schemeClr val="bg1"/>
              </a:buClr>
            </a:pPr>
            <a:r>
              <a:rPr lang="en-US" sz="1100" dirty="0">
                <a:solidFill>
                  <a:schemeClr val="bg1"/>
                </a:solidFill>
                <a:latin typeface="Lucida Sans" panose="020B0602030504020204" pitchFamily="34" charset="0"/>
              </a:rPr>
              <a:t>Resource flexibility (scale up and down easily versus fixed internal headcount)</a:t>
            </a:r>
          </a:p>
        </p:txBody>
      </p:sp>
    </p:spTree>
    <p:extLst>
      <p:ext uri="{BB962C8B-B14F-4D97-AF65-F5344CB8AC3E}">
        <p14:creationId xmlns:p14="http://schemas.microsoft.com/office/powerpoint/2010/main" val="4172594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タイトル 1">
            <a:extLst>
              <a:ext uri="{FF2B5EF4-FFF2-40B4-BE49-F238E27FC236}">
                <a16:creationId xmlns:a16="http://schemas.microsoft.com/office/drawing/2014/main" id="{91AB672D-C12A-454F-8056-6BCF37DDA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735" y="512273"/>
            <a:ext cx="10909300" cy="68580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ja-JP" b="1" dirty="0">
                <a:latin typeface="Lucida Sans" panose="020B0602030504020204" pitchFamily="34" charset="0"/>
              </a:rPr>
              <a:t>Intelligence and Insights Surveillance (Example)</a:t>
            </a:r>
            <a:endParaRPr lang="ja-JP" altLang="en-US" b="1" dirty="0">
              <a:latin typeface="Lucida Sans" panose="020B0602030504020204" pitchFamily="34" charset="0"/>
            </a:endParaRP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FF16B3D8-A749-432D-9108-DFE27F30FF47}"/>
              </a:ext>
            </a:extLst>
          </p:cNvPr>
          <p:cNvSpPr txBox="1">
            <a:spLocks/>
          </p:cNvSpPr>
          <p:nvPr/>
        </p:nvSpPr>
        <p:spPr>
          <a:xfrm>
            <a:off x="2626010" y="3548568"/>
            <a:ext cx="1327746" cy="191027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1. Web-scraping</a:t>
            </a:r>
          </a:p>
        </p:txBody>
      </p:sp>
      <p:sp>
        <p:nvSpPr>
          <p:cNvPr id="63" name="Content Placeholder 5">
            <a:extLst>
              <a:ext uri="{FF2B5EF4-FFF2-40B4-BE49-F238E27FC236}">
                <a16:creationId xmlns:a16="http://schemas.microsoft.com/office/drawing/2014/main" id="{AEB8E2F6-DDDE-457B-9BDD-89B1AC838F1D}"/>
              </a:ext>
            </a:extLst>
          </p:cNvPr>
          <p:cNvSpPr txBox="1">
            <a:spLocks/>
          </p:cNvSpPr>
          <p:nvPr/>
        </p:nvSpPr>
        <p:spPr>
          <a:xfrm>
            <a:off x="2626010" y="3957809"/>
            <a:ext cx="1327746" cy="11118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The system collects articles and data from selected websites.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E290B2D-F6FE-43FF-8E65-72CBF0275948}"/>
              </a:ext>
            </a:extLst>
          </p:cNvPr>
          <p:cNvGrpSpPr/>
          <p:nvPr/>
        </p:nvGrpSpPr>
        <p:grpSpPr>
          <a:xfrm>
            <a:off x="2911564" y="2487305"/>
            <a:ext cx="922120" cy="886723"/>
            <a:chOff x="1071790" y="1298262"/>
            <a:chExt cx="1111819" cy="1111819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2792EA4-1A8A-4314-A6EB-798F609C6A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1790" y="1298262"/>
              <a:ext cx="1111819" cy="1111819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endParaRPr>
            </a:p>
          </p:txBody>
        </p:sp>
        <p:pic>
          <p:nvPicPr>
            <p:cNvPr id="74" name="Graphic 73" descr="Spider web">
              <a:extLst>
                <a:ext uri="{FF2B5EF4-FFF2-40B4-BE49-F238E27FC236}">
                  <a16:creationId xmlns:a16="http://schemas.microsoft.com/office/drawing/2014/main" id="{05BAE8F4-F669-42C8-A84C-EFB7996EB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60786" y="1484872"/>
              <a:ext cx="737696" cy="737696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36D0A76-28C5-4D17-A402-95F560D1BA4D}"/>
              </a:ext>
            </a:extLst>
          </p:cNvPr>
          <p:cNvSpPr txBox="1"/>
          <p:nvPr/>
        </p:nvSpPr>
        <p:spPr>
          <a:xfrm>
            <a:off x="2722811" y="2009381"/>
            <a:ext cx="1354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icroServic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767514-85E6-4C28-AA5D-19BE61640AAF}"/>
              </a:ext>
            </a:extLst>
          </p:cNvPr>
          <p:cNvSpPr txBox="1"/>
          <p:nvPr/>
        </p:nvSpPr>
        <p:spPr>
          <a:xfrm>
            <a:off x="8337993" y="5778074"/>
            <a:ext cx="170652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Infrastructure (AWS)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James Wal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C2A666B-9338-483C-9A12-30D57378F984}"/>
              </a:ext>
            </a:extLst>
          </p:cNvPr>
          <p:cNvSpPr txBox="1"/>
          <p:nvPr/>
        </p:nvSpPr>
        <p:spPr>
          <a:xfrm>
            <a:off x="6865060" y="5783435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Ne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4B1FB6-718A-48AB-BAAF-2E6B1ADCA392}"/>
              </a:ext>
            </a:extLst>
          </p:cNvPr>
          <p:cNvSpPr txBox="1"/>
          <p:nvPr/>
        </p:nvSpPr>
        <p:spPr>
          <a:xfrm>
            <a:off x="4988560" y="5778074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New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C6BE5FA-DF7A-4788-AA71-5FA66CE94BA8}"/>
              </a:ext>
            </a:extLst>
          </p:cNvPr>
          <p:cNvSpPr txBox="1"/>
          <p:nvPr/>
        </p:nvSpPr>
        <p:spPr>
          <a:xfrm>
            <a:off x="2722811" y="5797676"/>
            <a:ext cx="14427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4D4D4F"/>
                </a:solidFill>
                <a:latin typeface="Lucida Sans" panose="020B0602030504020204" pitchFamily="34" charset="0"/>
                <a:ea typeface="MS PGothic"/>
              </a:rPr>
              <a:t>New + Existing (</a:t>
            </a:r>
            <a:r>
              <a:rPr lang="en-GB" sz="1100" b="1" dirty="0" err="1">
                <a:solidFill>
                  <a:srgbClr val="4D4D4F"/>
                </a:solidFill>
                <a:latin typeface="Lucida Sans" panose="020B0602030504020204" pitchFamily="34" charset="0"/>
                <a:ea typeface="MS PGothic"/>
              </a:rPr>
              <a:t>Sinequa</a:t>
            </a:r>
            <a:r>
              <a:rPr lang="en-GB" sz="1100" b="1" dirty="0">
                <a:solidFill>
                  <a:srgbClr val="4D4D4F"/>
                </a:solidFill>
                <a:latin typeface="Lucida Sans" panose="020B0602030504020204" pitchFamily="34" charset="0"/>
                <a:ea typeface="MS PGothic"/>
              </a:rPr>
              <a:t>)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A529D5A-AF9F-4372-900F-38B4AA94C790}"/>
              </a:ext>
            </a:extLst>
          </p:cNvPr>
          <p:cNvSpPr txBox="1"/>
          <p:nvPr/>
        </p:nvSpPr>
        <p:spPr>
          <a:xfrm>
            <a:off x="10778591" y="5778074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New</a:t>
            </a:r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05E941C2-4495-4584-91D2-2CE5BBED08DF}"/>
              </a:ext>
            </a:extLst>
          </p:cNvPr>
          <p:cNvSpPr txBox="1">
            <a:spLocks/>
          </p:cNvSpPr>
          <p:nvPr/>
        </p:nvSpPr>
        <p:spPr>
          <a:xfrm>
            <a:off x="4563575" y="3557825"/>
            <a:ext cx="1354455" cy="191027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2. Processing</a:t>
            </a:r>
          </a:p>
        </p:txBody>
      </p:sp>
      <p:sp>
        <p:nvSpPr>
          <p:cNvPr id="64" name="Content Placeholder 8">
            <a:extLst>
              <a:ext uri="{FF2B5EF4-FFF2-40B4-BE49-F238E27FC236}">
                <a16:creationId xmlns:a16="http://schemas.microsoft.com/office/drawing/2014/main" id="{6C424CB8-1614-4032-B2B8-21FE4F6F8482}"/>
              </a:ext>
            </a:extLst>
          </p:cNvPr>
          <p:cNvSpPr txBox="1">
            <a:spLocks/>
          </p:cNvSpPr>
          <p:nvPr/>
        </p:nvSpPr>
        <p:spPr>
          <a:xfrm>
            <a:off x="4563575" y="3967066"/>
            <a:ext cx="1354455" cy="11118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The article text is searched for key words and summarised using Natural Language Processing.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EB2890A-850C-43BD-8437-21C0BEA3ACB9}"/>
              </a:ext>
            </a:extLst>
          </p:cNvPr>
          <p:cNvGrpSpPr/>
          <p:nvPr/>
        </p:nvGrpSpPr>
        <p:grpSpPr>
          <a:xfrm>
            <a:off x="4833538" y="2496562"/>
            <a:ext cx="922120" cy="886723"/>
            <a:chOff x="3289809" y="1251320"/>
            <a:chExt cx="1111819" cy="1111819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0FD78DCC-9B9C-40B2-9475-523CA4E7F7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9809" y="1251320"/>
              <a:ext cx="1111819" cy="1111819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endParaRPr>
            </a:p>
          </p:txBody>
        </p:sp>
        <p:pic>
          <p:nvPicPr>
            <p:cNvPr id="76" name="Graphic 75" descr="Web design">
              <a:extLst>
                <a:ext uri="{FF2B5EF4-FFF2-40B4-BE49-F238E27FC236}">
                  <a16:creationId xmlns:a16="http://schemas.microsoft.com/office/drawing/2014/main" id="{35A8CAA1-B6D2-4A99-AF1F-A1EC9F2D9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98720" y="1451598"/>
              <a:ext cx="715061" cy="715061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2B42FC1-847A-4F7F-98FD-FE5ACD352561}"/>
              </a:ext>
            </a:extLst>
          </p:cNvPr>
          <p:cNvSpPr txBox="1"/>
          <p:nvPr/>
        </p:nvSpPr>
        <p:spPr>
          <a:xfrm>
            <a:off x="4712766" y="2013277"/>
            <a:ext cx="1354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icroServic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7C76F482-AA9F-49E7-946D-BDBC4D50540D}"/>
              </a:ext>
            </a:extLst>
          </p:cNvPr>
          <p:cNvSpPr txBox="1">
            <a:spLocks/>
          </p:cNvSpPr>
          <p:nvPr/>
        </p:nvSpPr>
        <p:spPr>
          <a:xfrm>
            <a:off x="6574102" y="3563186"/>
            <a:ext cx="1417325" cy="17640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3. Transformation</a:t>
            </a:r>
          </a:p>
        </p:txBody>
      </p:sp>
      <p:sp>
        <p:nvSpPr>
          <p:cNvPr id="65" name="Content Placeholder 11">
            <a:extLst>
              <a:ext uri="{FF2B5EF4-FFF2-40B4-BE49-F238E27FC236}">
                <a16:creationId xmlns:a16="http://schemas.microsoft.com/office/drawing/2014/main" id="{105A8C07-7E97-432C-8ED2-9B90FC2AA094}"/>
              </a:ext>
            </a:extLst>
          </p:cNvPr>
          <p:cNvSpPr txBox="1">
            <a:spLocks/>
          </p:cNvSpPr>
          <p:nvPr/>
        </p:nvSpPr>
        <p:spPr>
          <a:xfrm>
            <a:off x="6553530" y="3972427"/>
            <a:ext cx="1328380" cy="11118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The text collected from the articles is then transformed into a structured format (a table).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F62CAB8-9503-4E75-A60D-2346EBFC1761}"/>
              </a:ext>
            </a:extLst>
          </p:cNvPr>
          <p:cNvGrpSpPr/>
          <p:nvPr/>
        </p:nvGrpSpPr>
        <p:grpSpPr>
          <a:xfrm>
            <a:off x="6807219" y="2501923"/>
            <a:ext cx="922120" cy="886723"/>
            <a:chOff x="5539695" y="1251319"/>
            <a:chExt cx="1111819" cy="1111819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FF08CE0A-FAE0-488B-A052-98D76F4A4A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39695" y="1251319"/>
              <a:ext cx="1111819" cy="1111819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endParaRPr>
            </a:p>
          </p:txBody>
        </p:sp>
        <p:pic>
          <p:nvPicPr>
            <p:cNvPr id="78" name="Graphic 77" descr="Brain in head">
              <a:extLst>
                <a:ext uri="{FF2B5EF4-FFF2-40B4-BE49-F238E27FC236}">
                  <a16:creationId xmlns:a16="http://schemas.microsoft.com/office/drawing/2014/main" id="{4BB46227-E790-410A-939F-9DB1E3B0D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688606" y="1407781"/>
              <a:ext cx="814787" cy="814787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8C2BB8B-C7F5-4E41-B82F-CBEE284CE837}"/>
              </a:ext>
            </a:extLst>
          </p:cNvPr>
          <p:cNvSpPr txBox="1"/>
          <p:nvPr/>
        </p:nvSpPr>
        <p:spPr>
          <a:xfrm>
            <a:off x="6586282" y="2018638"/>
            <a:ext cx="1354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icroServic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A24034EE-5ADF-4A9C-8514-02BC1253BE0E}"/>
              </a:ext>
            </a:extLst>
          </p:cNvPr>
          <p:cNvSpPr txBox="1">
            <a:spLocks/>
          </p:cNvSpPr>
          <p:nvPr/>
        </p:nvSpPr>
        <p:spPr>
          <a:xfrm>
            <a:off x="8471427" y="3557825"/>
            <a:ext cx="1328380" cy="191027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4. Storage</a:t>
            </a:r>
          </a:p>
        </p:txBody>
      </p:sp>
      <p:sp>
        <p:nvSpPr>
          <p:cNvPr id="66" name="Content Placeholder 14">
            <a:extLst>
              <a:ext uri="{FF2B5EF4-FFF2-40B4-BE49-F238E27FC236}">
                <a16:creationId xmlns:a16="http://schemas.microsoft.com/office/drawing/2014/main" id="{2C624D22-E4A4-4AF9-B3F9-6E637E3527FB}"/>
              </a:ext>
            </a:extLst>
          </p:cNvPr>
          <p:cNvSpPr txBox="1">
            <a:spLocks/>
          </p:cNvSpPr>
          <p:nvPr/>
        </p:nvSpPr>
        <p:spPr>
          <a:xfrm>
            <a:off x="8471427" y="3967066"/>
            <a:ext cx="1328380" cy="11118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The processed and transformed data is then stored in a database and filtered for different user groups.  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040F0FE-40A4-46F7-BF21-CAE656922782}"/>
              </a:ext>
            </a:extLst>
          </p:cNvPr>
          <p:cNvGrpSpPr/>
          <p:nvPr/>
        </p:nvGrpSpPr>
        <p:grpSpPr>
          <a:xfrm>
            <a:off x="8725116" y="2496562"/>
            <a:ext cx="922120" cy="886723"/>
            <a:chOff x="7771720" y="1251318"/>
            <a:chExt cx="1111819" cy="1111819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F1CC2B2-1ABA-4B1B-BA52-1E4B5E5BBA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71720" y="1251318"/>
              <a:ext cx="1111819" cy="1111819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endParaRPr>
            </a:p>
          </p:txBody>
        </p:sp>
        <p:pic>
          <p:nvPicPr>
            <p:cNvPr id="80" name="Graphic 79" descr="Database">
              <a:extLst>
                <a:ext uri="{FF2B5EF4-FFF2-40B4-BE49-F238E27FC236}">
                  <a16:creationId xmlns:a16="http://schemas.microsoft.com/office/drawing/2014/main" id="{64CDE099-45FE-43E0-AEFA-4A91641CC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973666" y="1461211"/>
              <a:ext cx="707926" cy="707926"/>
            </a:xfrm>
            <a:prstGeom prst="rect">
              <a:avLst/>
            </a:prstGeom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F7F9BF6-23B0-4B8C-9CBC-D61DBC7822C7}"/>
              </a:ext>
            </a:extLst>
          </p:cNvPr>
          <p:cNvSpPr txBox="1"/>
          <p:nvPr/>
        </p:nvSpPr>
        <p:spPr>
          <a:xfrm>
            <a:off x="8427045" y="2018638"/>
            <a:ext cx="1354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icroServic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61" name="Text Placeholder 18">
            <a:extLst>
              <a:ext uri="{FF2B5EF4-FFF2-40B4-BE49-F238E27FC236}">
                <a16:creationId xmlns:a16="http://schemas.microsoft.com/office/drawing/2014/main" id="{BFFD2CFD-226F-4320-B951-61D4E1626EE5}"/>
              </a:ext>
            </a:extLst>
          </p:cNvPr>
          <p:cNvSpPr txBox="1">
            <a:spLocks/>
          </p:cNvSpPr>
          <p:nvPr/>
        </p:nvSpPr>
        <p:spPr>
          <a:xfrm>
            <a:off x="10279300" y="3557825"/>
            <a:ext cx="1497253" cy="191027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5. Proactive Strategy</a:t>
            </a:r>
          </a:p>
        </p:txBody>
      </p:sp>
      <p:sp>
        <p:nvSpPr>
          <p:cNvPr id="67" name="Content Placeholder 17">
            <a:extLst>
              <a:ext uri="{FF2B5EF4-FFF2-40B4-BE49-F238E27FC236}">
                <a16:creationId xmlns:a16="http://schemas.microsoft.com/office/drawing/2014/main" id="{E5893F10-4A51-41AD-A442-AD22911BC84D}"/>
              </a:ext>
            </a:extLst>
          </p:cNvPr>
          <p:cNvSpPr txBox="1">
            <a:spLocks/>
          </p:cNvSpPr>
          <p:nvPr/>
        </p:nvSpPr>
        <p:spPr>
          <a:xfrm>
            <a:off x="10279300" y="3967066"/>
            <a:ext cx="1328380" cy="11118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33363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7525" indent="-23336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Helvetica" panose="020B0604020202020204" pitchFamily="34" charset="0"/>
              <a:buChar char="‒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The filtered data is then shared in checklist, emails, alerts, actionable workflows, dashboards etc.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252247F3-9A09-459E-9545-8CA6F9C11D85}"/>
              </a:ext>
            </a:extLst>
          </p:cNvPr>
          <p:cNvGrpSpPr/>
          <p:nvPr/>
        </p:nvGrpSpPr>
        <p:grpSpPr>
          <a:xfrm>
            <a:off x="10532989" y="2496562"/>
            <a:ext cx="922120" cy="886723"/>
            <a:chOff x="10025905" y="1222118"/>
            <a:chExt cx="1111819" cy="1111819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B08AD9A-1B88-44AE-B08B-9B56A8BC6F7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5905" y="1222118"/>
              <a:ext cx="1111819" cy="1111819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endParaRPr>
            </a:p>
          </p:txBody>
        </p:sp>
        <p:pic>
          <p:nvPicPr>
            <p:cNvPr id="82" name="Graphic 81" descr="Lightbulb and gear">
              <a:extLst>
                <a:ext uri="{FF2B5EF4-FFF2-40B4-BE49-F238E27FC236}">
                  <a16:creationId xmlns:a16="http://schemas.microsoft.com/office/drawing/2014/main" id="{F9CEB2F0-F734-4D3F-BF01-B31847233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178514" y="1390330"/>
              <a:ext cx="806600" cy="806600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FFF7DD24-260C-4E8A-B3B1-43E5BFD69B74}"/>
              </a:ext>
            </a:extLst>
          </p:cNvPr>
          <p:cNvSpPr txBox="1"/>
          <p:nvPr/>
        </p:nvSpPr>
        <p:spPr>
          <a:xfrm>
            <a:off x="10303659" y="2008827"/>
            <a:ext cx="13548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icroServic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4D4D4F"/>
              </a:solidFill>
              <a:effectLst/>
              <a:uLnTx/>
              <a:uFillTx/>
              <a:latin typeface="Lucida Sans" panose="020B0602030504020204" pitchFamily="34" charset="0"/>
              <a:ea typeface="MS PGothic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E8AFE2E-4982-4530-9C40-B81113148805}"/>
              </a:ext>
            </a:extLst>
          </p:cNvPr>
          <p:cNvSpPr txBox="1"/>
          <p:nvPr/>
        </p:nvSpPr>
        <p:spPr>
          <a:xfrm>
            <a:off x="117294" y="1852859"/>
            <a:ext cx="1183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MA Insigh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52C4879-D0A9-4098-92D3-7F1CB5D7A887}"/>
              </a:ext>
            </a:extLst>
          </p:cNvPr>
          <p:cNvSpPr txBox="1"/>
          <p:nvPr/>
        </p:nvSpPr>
        <p:spPr>
          <a:xfrm>
            <a:off x="80918" y="3742029"/>
            <a:ext cx="17613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Advanced Intelligence –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RA and Q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4D3083-B27F-4B8F-9453-BE85BE6E747A}"/>
              </a:ext>
            </a:extLst>
          </p:cNvPr>
          <p:cNvSpPr txBox="1"/>
          <p:nvPr/>
        </p:nvSpPr>
        <p:spPr>
          <a:xfrm>
            <a:off x="115777" y="5516464"/>
            <a:ext cx="17613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Other POCs, Projec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1765327-4464-4D56-A367-898012E23131}"/>
              </a:ext>
            </a:extLst>
          </p:cNvPr>
          <p:cNvCxnSpPr>
            <a:cxnSpLocks/>
          </p:cNvCxnSpPr>
          <p:nvPr/>
        </p:nvCxnSpPr>
        <p:spPr>
          <a:xfrm>
            <a:off x="4276257" y="1944419"/>
            <a:ext cx="0" cy="342000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733D7A8-03E1-48A7-983E-39091359FBC3}"/>
              </a:ext>
            </a:extLst>
          </p:cNvPr>
          <p:cNvCxnSpPr>
            <a:cxnSpLocks/>
          </p:cNvCxnSpPr>
          <p:nvPr/>
        </p:nvCxnSpPr>
        <p:spPr>
          <a:xfrm>
            <a:off x="6286004" y="1944419"/>
            <a:ext cx="0" cy="342000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A7F2C48A-8414-4F35-8AFD-FE3BE8330F78}"/>
              </a:ext>
            </a:extLst>
          </p:cNvPr>
          <p:cNvCxnSpPr>
            <a:cxnSpLocks/>
          </p:cNvCxnSpPr>
          <p:nvPr/>
        </p:nvCxnSpPr>
        <p:spPr>
          <a:xfrm>
            <a:off x="8209239" y="1944419"/>
            <a:ext cx="0" cy="342000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6407148-2155-45D9-9BA3-F4B4BC500452}"/>
              </a:ext>
            </a:extLst>
          </p:cNvPr>
          <p:cNvCxnSpPr>
            <a:cxnSpLocks/>
          </p:cNvCxnSpPr>
          <p:nvPr/>
        </p:nvCxnSpPr>
        <p:spPr>
          <a:xfrm>
            <a:off x="10144575" y="1944419"/>
            <a:ext cx="0" cy="3420000"/>
          </a:xfrm>
          <a:prstGeom prst="straightConnector1">
            <a:avLst/>
          </a:prstGeom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Curved 10">
            <a:extLst>
              <a:ext uri="{FF2B5EF4-FFF2-40B4-BE49-F238E27FC236}">
                <a16:creationId xmlns:a16="http://schemas.microsoft.com/office/drawing/2014/main" id="{77DAEBEB-48A7-44B4-9776-7212A4EA5C48}"/>
              </a:ext>
            </a:extLst>
          </p:cNvPr>
          <p:cNvCxnSpPr>
            <a:cxnSpLocks/>
          </p:cNvCxnSpPr>
          <p:nvPr/>
        </p:nvCxnSpPr>
        <p:spPr>
          <a:xfrm rot="16200000" flipH="1">
            <a:off x="1338163" y="2397698"/>
            <a:ext cx="1017374" cy="1011977"/>
          </a:xfrm>
          <a:prstGeom prst="curved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Curved 52">
            <a:extLst>
              <a:ext uri="{FF2B5EF4-FFF2-40B4-BE49-F238E27FC236}">
                <a16:creationId xmlns:a16="http://schemas.microsoft.com/office/drawing/2014/main" id="{5E59D79D-CAD8-4A64-954F-FA55AE122CAC}"/>
              </a:ext>
            </a:extLst>
          </p:cNvPr>
          <p:cNvCxnSpPr>
            <a:cxnSpLocks/>
          </p:cNvCxnSpPr>
          <p:nvPr/>
        </p:nvCxnSpPr>
        <p:spPr>
          <a:xfrm flipH="1">
            <a:off x="1287704" y="4646478"/>
            <a:ext cx="1017374" cy="1011977"/>
          </a:xfrm>
          <a:prstGeom prst="curvedConnector2">
            <a:avLst/>
          </a:prstGeom>
          <a:ln>
            <a:solidFill>
              <a:schemeClr val="tx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688B6C2-5287-465D-AB83-077145C5A200}"/>
              </a:ext>
            </a:extLst>
          </p:cNvPr>
          <p:cNvCxnSpPr/>
          <p:nvPr/>
        </p:nvCxnSpPr>
        <p:spPr>
          <a:xfrm>
            <a:off x="1366354" y="4008942"/>
            <a:ext cx="951852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6A8B23F5-DEEC-443C-8692-041CB5DBA175}"/>
              </a:ext>
            </a:extLst>
          </p:cNvPr>
          <p:cNvSpPr txBox="1"/>
          <p:nvPr/>
        </p:nvSpPr>
        <p:spPr>
          <a:xfrm>
            <a:off x="4712766" y="1225615"/>
            <a:ext cx="49183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Lucida Sans" panose="020B0602030504020204" pitchFamily="34" charset="0"/>
                <a:ea typeface="MS PGothic"/>
              </a:rPr>
              <a:t>Using existing Astellas cloud services tena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42DFF8-CFB3-43E4-878E-D2DC0B6DFF6C}"/>
              </a:ext>
            </a:extLst>
          </p:cNvPr>
          <p:cNvSpPr/>
          <p:nvPr/>
        </p:nvSpPr>
        <p:spPr>
          <a:xfrm>
            <a:off x="2605001" y="1794445"/>
            <a:ext cx="9147454" cy="3699272"/>
          </a:xfrm>
          <a:prstGeom prst="rect">
            <a:avLst/>
          </a:prstGeom>
          <a:noFill/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  <p:sp>
        <p:nvSpPr>
          <p:cNvPr id="50" name="Slide Number Placeholder 1">
            <a:extLst>
              <a:ext uri="{FF2B5EF4-FFF2-40B4-BE49-F238E27FC236}">
                <a16:creationId xmlns:a16="http://schemas.microsoft.com/office/drawing/2014/main" id="{73601455-83BB-4B6C-BBC2-7BA796062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451455"/>
            <a:ext cx="685800" cy="685802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AE0398-C5D1-4C23-8BB8-6DF786637BD0}" type="slidenum">
              <a:rPr kumimoji="0" lang="en-US" sz="1800" b="0" i="0" u="none" strike="noStrike" kern="1200" cap="none" spc="-5" normalizeH="0" baseline="0" noProof="0" smtClean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srgbClr val="4C4D4F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5620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Astellas">
  <a:themeElements>
    <a:clrScheme name="Custom 110">
      <a:dk1>
        <a:sysClr val="windowText" lastClr="000000"/>
      </a:dk1>
      <a:lt1>
        <a:sysClr val="window" lastClr="FFFFFF"/>
      </a:lt1>
      <a:dk2>
        <a:srgbClr val="4C4D4F"/>
      </a:dk2>
      <a:lt2>
        <a:srgbClr val="E7E6E6"/>
      </a:lt2>
      <a:accent1>
        <a:srgbClr val="D91E49"/>
      </a:accent1>
      <a:accent2>
        <a:srgbClr val="A62B4D"/>
      </a:accent2>
      <a:accent3>
        <a:srgbClr val="CC7CA6"/>
      </a:accent3>
      <a:accent4>
        <a:srgbClr val="956889"/>
      </a:accent4>
      <a:accent5>
        <a:srgbClr val="A7A9AC"/>
      </a:accent5>
      <a:accent6>
        <a:srgbClr val="4C4D4F"/>
      </a:accent6>
      <a:hlink>
        <a:srgbClr val="4C4D4F"/>
      </a:hlink>
      <a:folHlink>
        <a:srgbClr val="4C4D4F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stellas">
  <a:themeElements>
    <a:clrScheme name="Custom 182">
      <a:dk1>
        <a:srgbClr val="4C4D4F"/>
      </a:dk1>
      <a:lt1>
        <a:sysClr val="window" lastClr="FFFFFF"/>
      </a:lt1>
      <a:dk2>
        <a:srgbClr val="4C4D4F"/>
      </a:dk2>
      <a:lt2>
        <a:srgbClr val="E7E6E6"/>
      </a:lt2>
      <a:accent1>
        <a:srgbClr val="D91E49"/>
      </a:accent1>
      <a:accent2>
        <a:srgbClr val="A62B4D"/>
      </a:accent2>
      <a:accent3>
        <a:srgbClr val="CC7CA6"/>
      </a:accent3>
      <a:accent4>
        <a:srgbClr val="956889"/>
      </a:accent4>
      <a:accent5>
        <a:srgbClr val="A7A9AC"/>
      </a:accent5>
      <a:accent6>
        <a:srgbClr val="4C4D4F"/>
      </a:accent6>
      <a:hlink>
        <a:srgbClr val="4C4D4F"/>
      </a:hlink>
      <a:folHlink>
        <a:srgbClr val="4C4D4F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Astellas">
  <a:themeElements>
    <a:clrScheme name="Astellas">
      <a:dk1>
        <a:srgbClr val="4D4D4F"/>
      </a:dk1>
      <a:lt1>
        <a:sysClr val="window" lastClr="FFFFFF"/>
      </a:lt1>
      <a:dk2>
        <a:srgbClr val="4D4D4F"/>
      </a:dk2>
      <a:lt2>
        <a:srgbClr val="D91E49"/>
      </a:lt2>
      <a:accent1>
        <a:srgbClr val="D91E49"/>
      </a:accent1>
      <a:accent2>
        <a:srgbClr val="A62B4E"/>
      </a:accent2>
      <a:accent3>
        <a:srgbClr val="939597"/>
      </a:accent3>
      <a:accent4>
        <a:srgbClr val="A7A9AC"/>
      </a:accent4>
      <a:accent5>
        <a:srgbClr val="A20067"/>
      </a:accent5>
      <a:accent6>
        <a:srgbClr val="4D4D4F"/>
      </a:accent6>
      <a:hlink>
        <a:srgbClr val="4D4D4F"/>
      </a:hlink>
      <a:folHlink>
        <a:srgbClr val="4D4D4F"/>
      </a:folHlink>
    </a:clrScheme>
    <a:fontScheme name="Astellas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 w="28575">
          <a:solidFill>
            <a:schemeClr val="accent2"/>
          </a:solidFill>
          <a:prstDash val="sysDash"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Astellas">
  <a:themeElements>
    <a:clrScheme name="Custom 181">
      <a:dk1>
        <a:srgbClr val="4C4D4F"/>
      </a:dk1>
      <a:lt1>
        <a:sysClr val="window" lastClr="FFFFFF"/>
      </a:lt1>
      <a:dk2>
        <a:srgbClr val="4C4D4F"/>
      </a:dk2>
      <a:lt2>
        <a:srgbClr val="E7E6E6"/>
      </a:lt2>
      <a:accent1>
        <a:srgbClr val="D91E49"/>
      </a:accent1>
      <a:accent2>
        <a:srgbClr val="A62B4D"/>
      </a:accent2>
      <a:accent3>
        <a:srgbClr val="CC7CA6"/>
      </a:accent3>
      <a:accent4>
        <a:srgbClr val="956889"/>
      </a:accent4>
      <a:accent5>
        <a:srgbClr val="A7A9AC"/>
      </a:accent5>
      <a:accent6>
        <a:srgbClr val="4C4D4F"/>
      </a:accent6>
      <a:hlink>
        <a:srgbClr val="4C4D4F"/>
      </a:hlink>
      <a:folHlink>
        <a:srgbClr val="4C4D4F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B3E4818FA6C54F81288FC5C55D829D" ma:contentTypeVersion="6" ma:contentTypeDescription="Create a new document." ma:contentTypeScope="" ma:versionID="34a6004baa487efca88c9e4cc705e8b1">
  <xsd:schema xmlns:xsd="http://www.w3.org/2001/XMLSchema" xmlns:xs="http://www.w3.org/2001/XMLSchema" xmlns:p="http://schemas.microsoft.com/office/2006/metadata/properties" xmlns:ns2="ebd71725-f902-461d-bc5a-a3a0dd408930" xmlns:ns3="807e69c6-3771-42ba-8e72-6e9f8f7c782e" targetNamespace="http://schemas.microsoft.com/office/2006/metadata/properties" ma:root="true" ma:fieldsID="2768c514eb1a4f05a77f4e6bfed5f915" ns2:_="" ns3:_="">
    <xsd:import namespace="ebd71725-f902-461d-bc5a-a3a0dd408930"/>
    <xsd:import namespace="807e69c6-3771-42ba-8e72-6e9f8f7c78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d71725-f902-461d-bc5a-a3a0dd4089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e69c6-3771-42ba-8e72-6e9f8f7c782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78CC5BA-B4FA-4BA7-9ED9-FEDABB3B1FB9}">
  <ds:schemaRefs>
    <ds:schemaRef ds:uri="807e69c6-3771-42ba-8e72-6e9f8f7c782e"/>
    <ds:schemaRef ds:uri="ebd71725-f902-461d-bc5a-a3a0dd4089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7342459-E115-465A-BA4F-D184A245FA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BBA668-0460-4C61-82CC-55879F1191C4}">
  <ds:schemaRefs>
    <ds:schemaRef ds:uri="http://purl.org/dc/terms/"/>
    <ds:schemaRef ds:uri="807e69c6-3771-42ba-8e72-6e9f8f7c782e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ebd71725-f902-461d-bc5a-a3a0dd408930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95</TotalTime>
  <Words>1712</Words>
  <Application>Microsoft Office PowerPoint</Application>
  <PresentationFormat>Widescreen</PresentationFormat>
  <Paragraphs>356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Helvetica Neue</vt:lpstr>
      <vt:lpstr>Arial</vt:lpstr>
      <vt:lpstr>Calibri</vt:lpstr>
      <vt:lpstr>Helvetica</vt:lpstr>
      <vt:lpstr>Lucida Sans</vt:lpstr>
      <vt:lpstr>Segoe UI</vt:lpstr>
      <vt:lpstr>Wingdings</vt:lpstr>
      <vt:lpstr>Astellas</vt:lpstr>
      <vt:lpstr>1_Astellas</vt:lpstr>
      <vt:lpstr>2_Astellas</vt:lpstr>
      <vt:lpstr>3_Astellas</vt:lpstr>
      <vt:lpstr>think-cell Slide</vt:lpstr>
      <vt:lpstr>Advanced Intelligence Surveillance POC   Executive Outcome Summary</vt:lpstr>
      <vt:lpstr>Agenda</vt:lpstr>
      <vt:lpstr>Big Thank you!</vt:lpstr>
      <vt:lpstr>Regulatory affairs value statement</vt:lpstr>
      <vt:lpstr>quality assurance value statement</vt:lpstr>
      <vt:lpstr>Platform value</vt:lpstr>
      <vt:lpstr>Lessons Learnt</vt:lpstr>
      <vt:lpstr>Enterprise innovation framework (Example) </vt:lpstr>
      <vt:lpstr>Intelligence and Insights Surveillance (Example)</vt:lpstr>
      <vt:lpstr>Possible AIS approach</vt:lpstr>
      <vt:lpstr>Take away message</vt:lpstr>
      <vt:lpstr>Appendix</vt:lpstr>
      <vt:lpstr>Phase Closeout Activities </vt:lpstr>
      <vt:lpstr>PowerPoint Presentation</vt:lpstr>
      <vt:lpstr>POC architecture</vt:lpstr>
      <vt:lpstr>Agile Ways of working success</vt:lpstr>
      <vt:lpstr>Organizational structure succe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Intelligence Surveillance POC   Executive Outcome Summary</dc:title>
  <dc:creator>Ogbeide, Michael</dc:creator>
  <cp:lastModifiedBy>Ogbeide, Michael</cp:lastModifiedBy>
  <cp:revision>1</cp:revision>
  <dcterms:created xsi:type="dcterms:W3CDTF">2022-03-19T20:22:28Z</dcterms:created>
  <dcterms:modified xsi:type="dcterms:W3CDTF">2022-03-31T08:1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B3E4818FA6C54F81288FC5C55D829D</vt:lpwstr>
  </property>
</Properties>
</file>